
<file path=[Content_Types].xml><?xml version="1.0" encoding="utf-8"?>
<Types xmlns="http://schemas.openxmlformats.org/package/2006/content-types">
  <Default Extension="bin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4" saveSubsetFonts="1" autoCompressPictures="0">
  <p:sldMasterIdLst>
    <p:sldMasterId id="2147483930" r:id="rId4"/>
  </p:sldMasterIdLst>
  <p:sldIdLst>
    <p:sldId id="1525" r:id="rId5"/>
  </p:sldIdLst>
  <p:sldSz cx="12192000" cy="6858000"/>
  <p:notesSz cx="6858000" cy="9144000"/>
  <p:custDataLst>
    <p:tags r:id="rId6"/>
  </p:custDataLst>
  <p:defaultTextStyle>
    <a:defPPr>
      <a:defRPr lang="en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7CD0904-4C35-D9DA-1D6C-C9888E58C9E4}" name="Tobias Maurer" initials="TM" userId="S::tobias.maurer@empowersuite.com::a253338d-9e07-4eb6-8a12-79734527286b" providerId="AD"/>
  <p188:author id="{9F55CE07-769A-1086-3408-4FA351695EA5}" name="Veronika Philipp" initials="VP" userId="S::veronika.philipp@empowersuite.com::43d3d555-6964-41ea-ab86-58ed21a37505" providerId="AD"/>
  <p188:author id="{DBF1C326-D23C-2389-B43D-A03793E379AD}" name="Stephan Kuhnert" initials="SK" userId="S::kuhnert@madeinoffice.com::68b29c7c-a342-4e65-b8db-49002b385efd" providerId="AD"/>
  <p188:author id="{1C671C58-AD34-F9C2-3F93-477E1F193BA0}" name="Teresa Almeida" initials="TA" userId="S::t.almeida@intobranding.com::cd7c3afa-cdcd-475c-b8a4-fdba6743df0e" providerId="AD"/>
  <p188:author id="{1410AB71-70F4-CF05-1E4D-3DB39BC957BE}" name="Victor Rodriguez" initials="VR" userId="S::victor.rodriguez@empowersuite.com::82000292-0f18-46b2-8284-5477234394e1" providerId="AD"/>
  <p188:author id="{389C8A76-7CB6-C044-0285-41143982D9ED}" name="Stephan Kuhnert" initials="SK" userId="S::stephan.kuhnert@empowersuite.com::68b29c7c-a342-4e65-b8db-49002b385efd" providerId="AD"/>
  <p188:author id="{65282787-7CD5-5633-B9F2-6B12AED6D2C0}" name="Jason Pugliese" initials="JP" userId="S::jason.pugliese@empowersuite.com::b7d8c6ba-5d1b-43e5-b079-5e81fa9a7c71" providerId="AD"/>
  <p188:author id="{BEBA108A-4D97-79B3-8102-AC0DFCFDA706}" name="Felix Brüning" initials="FB" userId="S::bruening@madeinoffice.com::d67efc62-7a71-4b67-a68a-7bf1f6770d2d" providerId="AD"/>
  <p188:author id="{CD8171B9-0FE0-9DFE-C58C-166D1E5A36F8}" name="Carina Geueke" initials="CG" userId="S::carina.geueke@empowersuite.com::e1f28b6f-921f-4a05-ab99-25afd8a48fe8" providerId="AD"/>
  <p188:author id="{330869BB-BA29-B8DE-4DF0-080443501EAD}" name="Patrick Schumacher" initials="PS" userId="S::patrick.schumacher@empowersuite.com::6304d65a-88ea-4ac1-89ec-ec54f1e9e3d9" providerId="AD"/>
  <p188:author id="{0114B9CC-2A3A-6D64-33D4-14C6F453DE00}" name="Felix Brüning" initials="FB" userId="S::felix.bruening@empowersuite.com::d67efc62-7a71-4b67-a68a-7bf1f6770d2d" providerId="AD"/>
  <p188:author id="{309B34DB-08A1-09CE-186C-AB6824AA80E8}" name="Tom Becker" initials="TB" userId="S::tom.becker@empowersuite.com::036bc710-0288-413e-8ea2-8f2991de5161" providerId="AD"/>
  <p188:author id="{2AC3B2DB-8986-147A-5CBE-71A22718AAE6}" name="Ekaterina Osmanovich" initials="EO" userId="S::ekaterina.osmanovich@empowersuite.com::c9a63af0-aed6-4087-ad8e-fc02fb3fc61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9BB3"/>
    <a:srgbClr val="006018"/>
    <a:srgbClr val="DCDCDC"/>
    <a:srgbClr val="EDFCFF"/>
    <a:srgbClr val="E7EDF2"/>
    <a:srgbClr val="3C3C3C"/>
    <a:srgbClr val="538FFF"/>
    <a:srgbClr val="123C8B"/>
    <a:srgbClr val="2D4E8B"/>
    <a:srgbClr val="1E3A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A86A1B0-AD2C-46AF-A70C-290CC9FF07CB}" v="1" dt="2025-11-26T09:23:36.8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91" d="100"/>
          <a:sy n="91" d="100"/>
        </p:scale>
        <p:origin x="1257" y="27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ina Manzi" userId="0f48cb9c-dcef-456a-af92-5a9ee208de37" providerId="ADAL" clId="{AC61A8B0-A858-4F87-B3DD-B792F4C71611}"/>
    <pc:docChg chg="modSld">
      <pc:chgData name="Georgina Manzi" userId="0f48cb9c-dcef-456a-af92-5a9ee208de37" providerId="ADAL" clId="{AC61A8B0-A858-4F87-B3DD-B792F4C71611}" dt="2025-11-26T09:23:36.854" v="2"/>
      <pc:docMkLst>
        <pc:docMk/>
      </pc:docMkLst>
      <pc:sldChg chg="modSp">
        <pc:chgData name="Georgina Manzi" userId="0f48cb9c-dcef-456a-af92-5a9ee208de37" providerId="ADAL" clId="{AC61A8B0-A858-4F87-B3DD-B792F4C71611}" dt="2025-11-26T09:23:36.854" v="2"/>
        <pc:sldMkLst>
          <pc:docMk/>
          <pc:sldMk cId="2135578211" sldId="1525"/>
        </pc:sldMkLst>
        <pc:picChg chg="mod">
          <ac:chgData name="Georgina Manzi" userId="0f48cb9c-dcef-456a-af92-5a9ee208de37" providerId="ADAL" clId="{AC61A8B0-A858-4F87-B3DD-B792F4C71611}" dt="2025-11-26T09:23:36.854" v="2"/>
          <ac:picMkLst>
            <pc:docMk/>
            <pc:sldMk cId="2135578211" sldId="1525"/>
            <ac:picMk id="14" creationId="{08635B37-36E5-588B-0302-3A07A713023F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7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bin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quiggle">
            <a:extLst>
              <a:ext uri="{FF2B5EF4-FFF2-40B4-BE49-F238E27FC236}">
                <a16:creationId xmlns:a16="http://schemas.microsoft.com/office/drawing/2014/main" id="{463F5D0C-65C5-086F-4E60-1F0A660F42B5}"/>
              </a:ext>
            </a:extLst>
          </p:cNvPr>
          <p:cNvSpPr/>
          <p:nvPr userDrawn="1"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Blue Box Shape">
            <a:extLst>
              <a:ext uri="{FF2B5EF4-FFF2-40B4-BE49-F238E27FC236}">
                <a16:creationId xmlns:a16="http://schemas.microsoft.com/office/drawing/2014/main" id="{76823654-0DEA-9800-76C1-EB05AC4A18AE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baseline="0">
              <a:solidFill>
                <a:schemeClr val="tx1"/>
              </a:solidFill>
            </a:endParaRP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F9D5D955-DB32-6A5C-C407-2B252C3BFE21}"/>
              </a:ext>
            </a:extLst>
          </p:cNvPr>
          <p:cNvSpPr/>
          <p:nvPr/>
        </p:nvSpPr>
        <p:spPr bwMode="black">
          <a:xfrm>
            <a:off x="9211095" y="767924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BCE12DA5-FA0F-2599-53F7-72C054F2FC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D5EF7968-483B-45DB-96A0-41EC9F5D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tx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88547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4="http://schemas.microsoft.com/office/drawing/2010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C (Mid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19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C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197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 C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86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 (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822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8A8E-AC52-8E78-8332-38A3B4F13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833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>
            <a:extLst>
              <a:ext uri="{FF2B5EF4-FFF2-40B4-BE49-F238E27FC236}">
                <a16:creationId xmlns:a16="http://schemas.microsoft.com/office/drawing/2014/main" id="{DB4EAF0F-926C-C687-2CAB-EBECD17C8A7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2000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034C86-AB12-63AB-0C99-237B15474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C48087-4076-5754-C666-1808BF3AAA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000" y="956760"/>
            <a:ext cx="11088001" cy="312009"/>
          </a:xfrm>
        </p:spPr>
        <p:txBody>
          <a:bodyPr/>
          <a:lstStyle>
            <a:lvl1pPr>
              <a:defRPr lang="en-GB" sz="2000" b="0" i="0" kern="1200" spc="0" baseline="0" dirty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lvl="0" indent="0" algn="l" defTabSz="972000" rtl="0" eaLnBrk="1" latinLnBrk="0" hangingPunct="1">
              <a:lnSpc>
                <a:spcPct val="105000"/>
              </a:lnSpc>
              <a:spcBef>
                <a:spcPct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F9839D-F58B-9613-ECE5-D7FF57F4D1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2" y="6229350"/>
            <a:ext cx="11088000" cy="384175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 marL="144000" indent="-14400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000"/>
            </a:lvl2pPr>
            <a:lvl3pPr>
              <a:lnSpc>
                <a:spcPct val="90000"/>
              </a:lnSpc>
              <a:spcBef>
                <a:spcPts val="0"/>
              </a:spcBef>
              <a:defRPr sz="1000"/>
            </a:lvl3pPr>
            <a:lvl4pPr>
              <a:lnSpc>
                <a:spcPct val="90000"/>
              </a:lnSpc>
              <a:defRPr sz="1000"/>
            </a:lvl4pPr>
            <a:lvl5pPr>
              <a:lnSpc>
                <a:spcPct val="90000"/>
              </a:lnSpc>
              <a:defRPr sz="1000"/>
            </a:lvl5pPr>
          </a:lstStyle>
          <a:p>
            <a:pPr lvl="0"/>
            <a:r>
              <a:rPr lang="en-US" dirty="0"/>
              <a:t>Source or footnotes – use Alt, Shift and arrow keys to promote to numbered footnote style.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855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:a14="http://schemas.microsoft.com/office/drawing/2010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>
            <a:extLst>
              <a:ext uri="{FF2B5EF4-FFF2-40B4-BE49-F238E27FC236}">
                <a16:creationId xmlns:a16="http://schemas.microsoft.com/office/drawing/2014/main" id="{295C4B23-21F2-2145-95FE-3AB8A616154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66001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C1BC992A-302B-241D-8898-D33B51BF79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2000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B581B0-C9DC-746F-44A6-3536C5D57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Subhead">
            <a:extLst>
              <a:ext uri="{FF2B5EF4-FFF2-40B4-BE49-F238E27FC236}">
                <a16:creationId xmlns:a16="http://schemas.microsoft.com/office/drawing/2014/main" id="{A2B96E86-1CA0-A5C9-1706-E774568A41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2000" y="956760"/>
            <a:ext cx="11088001" cy="31200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GB" sz="2000" b="0" i="0" spc="0">
                <a:solidFill>
                  <a:schemeClr val="accent2"/>
                </a:solidFill>
                <a:ea typeface="+mj-ea"/>
                <a:cs typeface="+mj-cs"/>
              </a:defRPr>
            </a:lvl1pPr>
            <a:lvl2pPr marL="0" indent="0">
              <a:buNone/>
              <a:defRPr lang="en-GB"/>
            </a:lvl2pPr>
            <a:lvl3pPr>
              <a:defRPr lang="en-GB"/>
            </a:lvl3pPr>
            <a:lvl4pPr>
              <a:defRPr lang="en-GB" sz="1200"/>
            </a:lvl4pPr>
            <a:lvl5pPr>
              <a:defRPr lang="en-US" sz="1400">
                <a:solidFill>
                  <a:schemeClr val="tx1"/>
                </a:solidFill>
                <a:latin typeface="+mn-lt"/>
              </a:defRPr>
            </a:lvl5pPr>
          </a:lstStyle>
          <a:p>
            <a:pPr lvl="0" defTabSz="972000">
              <a:spcBef>
                <a:spcPct val="0"/>
              </a:spcBef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6C9DB9E-B2B4-6921-A65D-70348453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6229350"/>
            <a:ext cx="11088000" cy="384175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 marL="144000" indent="-14400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000"/>
            </a:lvl2pPr>
            <a:lvl3pPr>
              <a:lnSpc>
                <a:spcPct val="90000"/>
              </a:lnSpc>
              <a:spcBef>
                <a:spcPts val="0"/>
              </a:spcBef>
              <a:defRPr sz="1000"/>
            </a:lvl3pPr>
            <a:lvl4pPr>
              <a:lnSpc>
                <a:spcPct val="90000"/>
              </a:lnSpc>
              <a:defRPr sz="1000"/>
            </a:lvl4pPr>
            <a:lvl5pPr>
              <a:lnSpc>
                <a:spcPct val="90000"/>
              </a:lnSpc>
              <a:defRPr sz="1000"/>
            </a:lvl5pPr>
          </a:lstStyle>
          <a:p>
            <a:pPr lvl="0"/>
            <a:r>
              <a:rPr lang="en-US" dirty="0"/>
              <a:t>Source or footnotes – use Alt, Shift and arrow keys to promote to numbered footnote style.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60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00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woos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440875">
            <a:off x="-1809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79447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woosh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21159125" flipH="1">
            <a:off x="-3198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0239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adient background">
            <a:extLst>
              <a:ext uri="{FF2B5EF4-FFF2-40B4-BE49-F238E27FC236}">
                <a16:creationId xmlns:a16="http://schemas.microsoft.com/office/drawing/2014/main" id="{FF4FA843-E9AB-E4D0-4382-8A499820EF90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0" name="Squiggle">
            <a:extLst>
              <a:ext uri="{FF2B5EF4-FFF2-40B4-BE49-F238E27FC236}">
                <a16:creationId xmlns:a16="http://schemas.microsoft.com/office/drawing/2014/main" id="{751B40F4-B93C-487C-7153-09E178C1455F}"/>
              </a:ext>
            </a:extLst>
          </p:cNvPr>
          <p:cNvSpPr>
            <a:spLocks/>
          </p:cNvSpPr>
          <p:nvPr userDrawn="1"/>
        </p:nvSpPr>
        <p:spPr bwMode="ltGray">
          <a:xfrm rot="8762903">
            <a:off x="-918620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D54D6AB9-BB50-7A8E-96E0-70DFABB05129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12A26B-B15B-78FA-A387-E9C046AE6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670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light blue sw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BAF5E0ED-0333-392E-AB78-7C19A767D9DA}"/>
              </a:ext>
            </a:extLst>
          </p:cNvPr>
          <p:cNvSpPr/>
          <p:nvPr userDrawn="1"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solidFill>
            <a:schemeClr val="accent3">
              <a:alpha val="20000"/>
            </a:schemeClr>
          </a:soli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03C3DFE9-7B51-03ED-E3F6-9296D2ECF020}"/>
              </a:ext>
            </a:extLst>
          </p:cNvPr>
          <p:cNvSpPr>
            <a:spLocks/>
          </p:cNvSpPr>
          <p:nvPr userDrawn="1"/>
        </p:nvSpPr>
        <p:spPr bwMode="black">
          <a:xfrm>
            <a:off x="9211095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Blue Block">
            <a:extLst>
              <a:ext uri="{FF2B5EF4-FFF2-40B4-BE49-F238E27FC236}">
                <a16:creationId xmlns:a16="http://schemas.microsoft.com/office/drawing/2014/main" id="{7AD4D1C8-300A-85EA-CD84-2E0586AD7D57}"/>
              </a:ext>
            </a:extLst>
          </p:cNvPr>
          <p:cNvSpPr>
            <a:spLocks/>
          </p:cNvSpPr>
          <p:nvPr/>
        </p:nvSpPr>
        <p:spPr bwMode="white">
          <a:xfrm>
            <a:off x="0" y="-1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9AD7562C-8257-11ED-C6EF-B20B75504B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E8877920-AA15-4721-9894-E5C6B06DA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6415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  <p15:guide id="2" orient="horz" pos="1207">
          <p15:clr>
            <a:srgbClr val="FBAE40"/>
          </p15:clr>
        </p15:guide>
        <p15:guide id="3" orient="horz" pos="16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dient Background">
            <a:extLst>
              <a:ext uri="{FF2B5EF4-FFF2-40B4-BE49-F238E27FC236}">
                <a16:creationId xmlns:a16="http://schemas.microsoft.com/office/drawing/2014/main" id="{7BDE401D-4346-E214-A278-26C52B091835}"/>
              </a:ext>
            </a:extLst>
          </p:cNvPr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2" name="Squiggle">
            <a:extLst>
              <a:ext uri="{FF2B5EF4-FFF2-40B4-BE49-F238E27FC236}">
                <a16:creationId xmlns:a16="http://schemas.microsoft.com/office/drawing/2014/main" id="{92B22213-A051-71E7-9A41-11A3E82568DA}"/>
              </a:ext>
            </a:extLst>
          </p:cNvPr>
          <p:cNvSpPr>
            <a:spLocks/>
          </p:cNvSpPr>
          <p:nvPr userDrawn="1"/>
        </p:nvSpPr>
        <p:spPr bwMode="ltGray">
          <a:xfrm rot="8762903">
            <a:off x="-918620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B55B9341-9544-C158-D07A-111F9336852E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0CE39731-51F7-534C-C99E-3EF237C37E9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52000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824834-4FB9-36DE-58A3-BE0BA2340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F5A9934-5760-2964-5E89-B7A74A48A6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6229350"/>
            <a:ext cx="11088000" cy="384175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 marL="144000" indent="-14400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000"/>
            </a:lvl2pPr>
            <a:lvl3pPr>
              <a:lnSpc>
                <a:spcPct val="90000"/>
              </a:lnSpc>
              <a:spcBef>
                <a:spcPts val="0"/>
              </a:spcBef>
              <a:defRPr sz="1000"/>
            </a:lvl3pPr>
            <a:lvl4pPr>
              <a:lnSpc>
                <a:spcPct val="90000"/>
              </a:lnSpc>
              <a:defRPr sz="1000"/>
            </a:lvl4pPr>
            <a:lvl5pPr>
              <a:lnSpc>
                <a:spcPct val="90000"/>
              </a:lnSpc>
              <a:defRPr sz="1000"/>
            </a:lvl5pPr>
          </a:lstStyle>
          <a:p>
            <a:pPr lvl="0"/>
            <a:r>
              <a:rPr lang="en-US" dirty="0"/>
              <a:t>Source or footnotes – use Alt, Shift and arrow keys to promote to numbered footnote style.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2255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2632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AD1E3271-5090-C512-48EF-8FBB3657A624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1773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 Squigg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798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8EF30D9B-1CE5-162E-5F5B-B41EF638673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2000" y="1700808"/>
            <a:ext cx="11088001" cy="43200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800" baseline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800" baseline="0">
                <a:solidFill>
                  <a:schemeClr val="tx1"/>
                </a:solidFill>
              </a:defRPr>
            </a:lvl2pPr>
            <a:lvl3pPr>
              <a:defRPr sz="1800" baseline="0">
                <a:solidFill>
                  <a:schemeClr val="tx1"/>
                </a:solidFill>
              </a:defRPr>
            </a:lvl3pPr>
            <a:lvl4pPr>
              <a:defRPr sz="1600" baseline="0">
                <a:solidFill>
                  <a:schemeClr val="tx1"/>
                </a:solidFill>
              </a:defRPr>
            </a:lvl4pPr>
            <a:lvl5pPr>
              <a:defRPr sz="1800" baseline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buAutoNum type="alphaLcParenR"/>
              <a:defRPr/>
            </a:lvl8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329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radient Box">
            <a:extLst>
              <a:ext uri="{FF2B5EF4-FFF2-40B4-BE49-F238E27FC236}">
                <a16:creationId xmlns:a16="http://schemas.microsoft.com/office/drawing/2014/main" id="{5FA2F412-DAB1-79A8-EE6D-856B95DA3CE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2087821"/>
            <a:ext cx="6096000" cy="477017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Squiggle">
            <a:extLst>
              <a:ext uri="{FF2B5EF4-FFF2-40B4-BE49-F238E27FC236}">
                <a16:creationId xmlns:a16="http://schemas.microsoft.com/office/drawing/2014/main" id="{47F53373-D50B-883E-FDDA-7108820460D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89" t="12023" r="24259" b="38040"/>
          <a:stretch/>
        </p:blipFill>
        <p:spPr>
          <a:xfrm>
            <a:off x="0" y="2053095"/>
            <a:ext cx="6096000" cy="4770179"/>
          </a:xfrm>
          <a:prstGeom prst="rect">
            <a:avLst/>
          </a:prstGeom>
        </p:spPr>
      </p:pic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/>
            </a:lvl2pPr>
            <a:lvl3pPr marL="180000" indent="-18000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/>
            </a:lvl3pPr>
            <a:lvl4pPr marL="360000" indent="-180000">
              <a:spcBef>
                <a:spcPts val="0"/>
              </a:spcBef>
              <a:spcAft>
                <a:spcPts val="300"/>
              </a:spcAft>
              <a:defRPr sz="1200"/>
            </a:lvl4pPr>
            <a:lvl5pPr>
              <a:spcAft>
                <a:spcPts val="3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700811"/>
            <a:ext cx="8640000" cy="974626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13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5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360000" indent="-180000">
              <a:spcBef>
                <a:spcPts val="0"/>
              </a:spcBef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700811"/>
            <a:ext cx="8639999" cy="974626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7ADB17EC-3535-10B4-EA22-3FF7B2394167}"/>
              </a:ext>
            </a:extLst>
          </p:cNvPr>
          <p:cNvSpPr/>
          <p:nvPr userDrawn="1"/>
        </p:nvSpPr>
        <p:spPr bwMode="invGray">
          <a:xfrm rot="7860000">
            <a:off x="-623711" y="1951769"/>
            <a:ext cx="6944766" cy="5297390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617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quiggle">
            <a:extLst>
              <a:ext uri="{FF2B5EF4-FFF2-40B4-BE49-F238E27FC236}">
                <a16:creationId xmlns:a16="http://schemas.microsoft.com/office/drawing/2014/main" id="{EDD39493-F2CF-026A-6F49-50AB1BFEF1DE}"/>
              </a:ext>
            </a:extLst>
          </p:cNvPr>
          <p:cNvSpPr/>
          <p:nvPr userDrawn="1"/>
        </p:nvSpPr>
        <p:spPr bwMode="invGray">
          <a:xfrm rot="7860000">
            <a:off x="-623711" y="1951769"/>
            <a:ext cx="6944766" cy="5297390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2BE0690-F2BB-4B76-BB0D-557C7721AA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053095"/>
            <a:ext cx="5545200" cy="3960000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2042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B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B4BF50-2D1E-CA40-0FB2-36E1EA6BA1F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3429000"/>
            <a:ext cx="7283937" cy="3429000"/>
          </a:xfrm>
          <a:prstGeom prst="rect">
            <a:avLst/>
          </a:prstGeom>
          <a:gradFill flip="none" rotWithShape="1">
            <a:gsLst>
              <a:gs pos="100000">
                <a:srgbClr val="538FFF"/>
              </a:gs>
              <a:gs pos="0">
                <a:schemeClr val="accent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5DA475-FB71-0BBA-510C-ADB2FD2DA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069" t="47897" r="25456" b="37789"/>
          <a:stretch/>
        </p:blipFill>
        <p:spPr>
          <a:xfrm>
            <a:off x="0" y="3429000"/>
            <a:ext cx="7283938" cy="3429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E932EFA-8AA8-BF3A-8E90-B96BE7D6C80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36776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C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2BBFAD-E787-8011-D4CF-33339EB6A037}"/>
              </a:ext>
            </a:extLst>
          </p:cNvPr>
          <p:cNvGrpSpPr/>
          <p:nvPr userDrawn="1"/>
        </p:nvGrpSpPr>
        <p:grpSpPr>
          <a:xfrm>
            <a:off x="0" y="3429000"/>
            <a:ext cx="7283939" cy="3429000"/>
            <a:chOff x="0" y="3429000"/>
            <a:chExt cx="7283939" cy="3429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D016B5D-D24E-9CB9-D617-AD70A2A126D8}"/>
                </a:ext>
              </a:extLst>
            </p:cNvPr>
            <p:cNvSpPr/>
            <p:nvPr/>
          </p:nvSpPr>
          <p:spPr>
            <a:xfrm>
              <a:off x="0" y="3429000"/>
              <a:ext cx="7283938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F2AA39B-CCCF-C240-23CB-DE7BB92736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90" t="31180" r="17841" b="39499"/>
            <a:stretch/>
          </p:blipFill>
          <p:spPr>
            <a:xfrm>
              <a:off x="1" y="3429000"/>
              <a:ext cx="7283938" cy="3428999"/>
            </a:xfrm>
            <a:prstGeom prst="rect">
              <a:avLst/>
            </a:prstGeom>
            <a:gradFill>
              <a:gsLst>
                <a:gs pos="100000">
                  <a:schemeClr val="accent4"/>
                </a:gs>
                <a:gs pos="15000">
                  <a:schemeClr val="accent5"/>
                </a:gs>
              </a:gsLst>
              <a:lin ang="18900000" scaled="0"/>
            </a:gradFill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7998FA82-AE58-DF57-EE9E-73FF8FEAD9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06118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ogo">
            <a:extLst>
              <a:ext uri="{FF2B5EF4-FFF2-40B4-BE49-F238E27FC236}">
                <a16:creationId xmlns:a16="http://schemas.microsoft.com/office/drawing/2014/main" id="{71EC193D-CC43-15CD-831C-49F8CD8C16BD}"/>
              </a:ext>
            </a:extLst>
          </p:cNvPr>
          <p:cNvSpPr>
            <a:spLocks/>
          </p:cNvSpPr>
          <p:nvPr/>
        </p:nvSpPr>
        <p:spPr bwMode="black">
          <a:xfrm>
            <a:off x="9211095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Blue Block">
            <a:extLst>
              <a:ext uri="{FF2B5EF4-FFF2-40B4-BE49-F238E27FC236}">
                <a16:creationId xmlns:a16="http://schemas.microsoft.com/office/drawing/2014/main" id="{D00D9B82-CF9A-0D93-6F46-B6D1542878BF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BBD3EDA2-78B7-6B49-D40E-E33D2D383B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DD0DF77D-FC8F-101B-4675-31AF887AF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33914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BB9FD7F-5FBF-985A-0063-937C8E3ACAB9}"/>
              </a:ext>
            </a:extLst>
          </p:cNvPr>
          <p:cNvGrpSpPr/>
          <p:nvPr userDrawn="1"/>
        </p:nvGrpSpPr>
        <p:grpSpPr>
          <a:xfrm>
            <a:off x="-1" y="3429000"/>
            <a:ext cx="7288438" cy="3429000"/>
            <a:chOff x="19893" y="7414846"/>
            <a:chExt cx="7288438" cy="3429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01F38A6-A653-4D8B-F6B4-8CC75E37B66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9894" y="7414846"/>
              <a:ext cx="7288437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2"/>
                </a:gs>
                <a:gs pos="1000">
                  <a:schemeClr val="accent6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DF7126E-93D4-E0D7-3AC2-EACA70BF87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310" t="53061" r="11726" b="7052"/>
            <a:stretch/>
          </p:blipFill>
          <p:spPr>
            <a:xfrm>
              <a:off x="19893" y="7414846"/>
              <a:ext cx="7288438" cy="3429000"/>
            </a:xfrm>
            <a:prstGeom prst="rect">
              <a:avLst/>
            </a:prstGeom>
          </p:spPr>
        </p:pic>
      </p:grp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9D3DA5B8-F575-6DF1-AC3B-8C7584D5B6D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0534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D7B03C3-5872-48EE-C266-2FF14E1A1C68}"/>
              </a:ext>
            </a:extLst>
          </p:cNvPr>
          <p:cNvGrpSpPr/>
          <p:nvPr userDrawn="1"/>
        </p:nvGrpSpPr>
        <p:grpSpPr>
          <a:xfrm>
            <a:off x="0" y="3429000"/>
            <a:ext cx="7288438" cy="3429000"/>
            <a:chOff x="0" y="3429000"/>
            <a:chExt cx="7288438" cy="3429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5038A97-5369-6B5D-5B6A-EB11A293CCF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" y="3429000"/>
              <a:ext cx="7288437" cy="3429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DA01EF1-C789-CE8A-1295-17E3F7488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391" t="46740" r="25927" b="25063"/>
            <a:stretch/>
          </p:blipFill>
          <p:spPr>
            <a:xfrm>
              <a:off x="0" y="3465513"/>
              <a:ext cx="7288438" cy="3392487"/>
            </a:xfrm>
            <a:prstGeom prst="rect">
              <a:avLst/>
            </a:prstGeom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28112D3A-C423-0B68-D701-2CC0D24291C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398713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ght Blue Background Box">
            <a:extLst>
              <a:ext uri="{FF2B5EF4-FFF2-40B4-BE49-F238E27FC236}">
                <a16:creationId xmlns:a16="http://schemas.microsoft.com/office/drawing/2014/main" id="{B7DAB3D9-5015-A550-69A8-D68640397954}"/>
              </a:ext>
            </a:extLst>
          </p:cNvPr>
          <p:cNvSpPr/>
          <p:nvPr userDrawn="1"/>
        </p:nvSpPr>
        <p:spPr bwMode="white">
          <a:xfrm>
            <a:off x="6096000" y="0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E753F8DB-9E85-600E-CE65-6F0B5FAE55C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862DF7A4-F6DA-E5F4-FDC2-DC9F260060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94274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3632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asvg="http://schemas.microsoft.com/office/drawing/2016/SVG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35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/>
        </p:nvSpPr>
        <p:spPr bwMode="white">
          <a:xfrm>
            <a:off x="0" y="-1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D4D98A6F-CCDA-3034-9A95-2A26056495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Title plus Content">
            <a:extLst>
              <a:ext uri="{FF2B5EF4-FFF2-40B4-BE49-F238E27FC236}">
                <a16:creationId xmlns:a16="http://schemas.microsoft.com/office/drawing/2014/main" id="{F7F8A338-A00D-2699-2172-8897CB3F038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0598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asvg="http://schemas.microsoft.com/office/drawing/2016/SVG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ght Blue Background Box">
            <a:extLst>
              <a:ext uri="{FF2B5EF4-FFF2-40B4-BE49-F238E27FC236}">
                <a16:creationId xmlns:a16="http://schemas.microsoft.com/office/drawing/2014/main" id="{32688E28-A7F8-F719-86CF-44D80A540EE8}"/>
              </a:ext>
            </a:extLst>
          </p:cNvPr>
          <p:cNvSpPr/>
          <p:nvPr/>
        </p:nvSpPr>
        <p:spPr bwMode="white">
          <a:xfrm>
            <a:off x="6096000" y="0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5B97292-EA86-FEC6-A22B-B5948F7131E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AB6C8F20-9432-0223-5EEF-ECC8F9BD8F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94274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052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 userDrawn="1"/>
        </p:nvSpPr>
        <p:spPr bwMode="white">
          <a:xfrm>
            <a:off x="0" y="-1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9D1692-EEFD-88EA-AC78-9DA3A4D838A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C3FF2256-8276-CD87-E590-0FA57F8D987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3371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3D200662-34CE-CF6E-6DAA-5C1324553BB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233A3AAD-F3AF-F8C3-E336-494A20B9CF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2000" indent="-25200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2352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87DC4C0B-4914-F9BB-BD66-CA2329654CB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30A964F-5F10-6427-5339-C3BF17997C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2000" indent="-25200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9325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Title and Content with Swoo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quiggle">
            <a:extLst>
              <a:ext uri="{FF2B5EF4-FFF2-40B4-BE49-F238E27FC236}">
                <a16:creationId xmlns:a16="http://schemas.microsoft.com/office/drawing/2014/main" id="{00171972-DAD9-4461-D642-9E70587F1676}"/>
              </a:ext>
            </a:extLst>
          </p:cNvPr>
          <p:cNvSpPr/>
          <p:nvPr/>
        </p:nvSpPr>
        <p:spPr>
          <a:xfrm rot="440875">
            <a:off x="-195795" y="260446"/>
            <a:ext cx="12711259" cy="7374027"/>
          </a:xfrm>
          <a:custGeom>
            <a:avLst/>
            <a:gdLst>
              <a:gd name="connsiteX0" fmla="*/ 9701292 w 12711259"/>
              <a:gd name="connsiteY0" fmla="*/ 4999293 h 7374027"/>
              <a:gd name="connsiteX1" fmla="*/ 10349337 w 12711259"/>
              <a:gd name="connsiteY1" fmla="*/ 5865741 h 7374027"/>
              <a:gd name="connsiteX2" fmla="*/ 10354937 w 12711259"/>
              <a:gd name="connsiteY2" fmla="*/ 6113237 h 7374027"/>
              <a:gd name="connsiteX3" fmla="*/ 7871504 w 12711259"/>
              <a:gd name="connsiteY3" fmla="*/ 6434879 h 7374027"/>
              <a:gd name="connsiteX4" fmla="*/ 8130301 w 12711259"/>
              <a:gd name="connsiteY4" fmla="*/ 6165073 h 7374027"/>
              <a:gd name="connsiteX5" fmla="*/ 8586391 w 12711259"/>
              <a:gd name="connsiteY5" fmla="*/ 5725947 h 7374027"/>
              <a:gd name="connsiteX6" fmla="*/ 8542688 w 12711259"/>
              <a:gd name="connsiteY6" fmla="*/ 5767387 h 7374027"/>
              <a:gd name="connsiteX7" fmla="*/ 9701292 w 12711259"/>
              <a:gd name="connsiteY7" fmla="*/ 4999293 h 7374027"/>
              <a:gd name="connsiteX8" fmla="*/ 12556234 w 12711259"/>
              <a:gd name="connsiteY8" fmla="*/ 4605882 h 7374027"/>
              <a:gd name="connsiteX9" fmla="*/ 12711259 w 12711259"/>
              <a:gd name="connsiteY9" fmla="*/ 5808059 h 7374027"/>
              <a:gd name="connsiteX10" fmla="*/ 10948599 w 12711259"/>
              <a:gd name="connsiteY10" fmla="*/ 6036348 h 7374027"/>
              <a:gd name="connsiteX11" fmla="*/ 10995446 w 12711259"/>
              <a:gd name="connsiteY11" fmla="*/ 5971853 h 7374027"/>
              <a:gd name="connsiteX12" fmla="*/ 12509398 w 12711259"/>
              <a:gd name="connsiteY12" fmla="*/ 4619614 h 7374027"/>
              <a:gd name="connsiteX13" fmla="*/ 4089853 w 12711259"/>
              <a:gd name="connsiteY13" fmla="*/ 0 h 7374027"/>
              <a:gd name="connsiteX14" fmla="*/ 4032572 w 12711259"/>
              <a:gd name="connsiteY14" fmla="*/ 208780 h 7374027"/>
              <a:gd name="connsiteX15" fmla="*/ 3110385 w 12711259"/>
              <a:gd name="connsiteY15" fmla="*/ 5050887 h 7374027"/>
              <a:gd name="connsiteX16" fmla="*/ 5214964 w 12711259"/>
              <a:gd name="connsiteY16" fmla="*/ 6484237 h 7374027"/>
              <a:gd name="connsiteX17" fmla="*/ 5130975 w 12711259"/>
              <a:gd name="connsiteY17" fmla="*/ 6789819 h 7374027"/>
              <a:gd name="connsiteX18" fmla="*/ 620243 w 12711259"/>
              <a:gd name="connsiteY18" fmla="*/ 7374027 h 7374027"/>
              <a:gd name="connsiteX19" fmla="*/ 595618 w 12711259"/>
              <a:gd name="connsiteY19" fmla="*/ 7183063 h 7374027"/>
              <a:gd name="connsiteX20" fmla="*/ 643367 w 12711259"/>
              <a:gd name="connsiteY20" fmla="*/ 6815536 h 7374027"/>
              <a:gd name="connsiteX21" fmla="*/ 1874812 w 12711259"/>
              <a:gd name="connsiteY21" fmla="*/ 1239581 h 7374027"/>
              <a:gd name="connsiteX22" fmla="*/ 592446 w 12711259"/>
              <a:gd name="connsiteY22" fmla="*/ 3773236 h 7374027"/>
              <a:gd name="connsiteX23" fmla="*/ 252389 w 12711259"/>
              <a:gd name="connsiteY23" fmla="*/ 4521405 h 7374027"/>
              <a:gd name="connsiteX24" fmla="*/ 0 w 12711259"/>
              <a:gd name="connsiteY24" fmla="*/ 2564185 h 7374027"/>
              <a:gd name="connsiteX25" fmla="*/ 286966 w 12711259"/>
              <a:gd name="connsiteY25" fmla="*/ 2061285 h 7374027"/>
              <a:gd name="connsiteX26" fmla="*/ 1294415 w 12711259"/>
              <a:gd name="connsiteY26" fmla="*/ 424798 h 7374027"/>
              <a:gd name="connsiteX27" fmla="*/ 1340058 w 12711259"/>
              <a:gd name="connsiteY27" fmla="*/ 356138 h 7374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711259" h="7374027">
                <a:moveTo>
                  <a:pt x="9701292" y="4999293"/>
                </a:moveTo>
                <a:cubicBezTo>
                  <a:pt x="10102115" y="4956977"/>
                  <a:pt x="10311719" y="5310803"/>
                  <a:pt x="10349337" y="5865741"/>
                </a:cubicBezTo>
                <a:lnTo>
                  <a:pt x="10354937" y="6113237"/>
                </a:lnTo>
                <a:lnTo>
                  <a:pt x="7871504" y="6434879"/>
                </a:lnTo>
                <a:lnTo>
                  <a:pt x="8130301" y="6165073"/>
                </a:lnTo>
                <a:cubicBezTo>
                  <a:pt x="8279037" y="6015936"/>
                  <a:pt x="8431002" y="5869496"/>
                  <a:pt x="8586391" y="5725947"/>
                </a:cubicBezTo>
                <a:lnTo>
                  <a:pt x="8542688" y="5767387"/>
                </a:lnTo>
                <a:cubicBezTo>
                  <a:pt x="9031123" y="5261858"/>
                  <a:pt x="9414988" y="5029518"/>
                  <a:pt x="9701292" y="4999293"/>
                </a:cubicBezTo>
                <a:close/>
                <a:moveTo>
                  <a:pt x="12556234" y="4605882"/>
                </a:moveTo>
                <a:lnTo>
                  <a:pt x="12711259" y="5808059"/>
                </a:lnTo>
                <a:lnTo>
                  <a:pt x="10948599" y="6036348"/>
                </a:lnTo>
                <a:lnTo>
                  <a:pt x="10995446" y="5971853"/>
                </a:lnTo>
                <a:cubicBezTo>
                  <a:pt x="11423632" y="5393813"/>
                  <a:pt x="11894510" y="4843458"/>
                  <a:pt x="12509398" y="4619614"/>
                </a:cubicBezTo>
                <a:close/>
                <a:moveTo>
                  <a:pt x="4089853" y="0"/>
                </a:moveTo>
                <a:lnTo>
                  <a:pt x="4032572" y="208780"/>
                </a:lnTo>
                <a:cubicBezTo>
                  <a:pt x="3477322" y="2228129"/>
                  <a:pt x="2859788" y="4443395"/>
                  <a:pt x="3110385" y="5050887"/>
                </a:cubicBezTo>
                <a:cubicBezTo>
                  <a:pt x="6202762" y="1120562"/>
                  <a:pt x="6073909" y="3270086"/>
                  <a:pt x="5214964" y="6484237"/>
                </a:cubicBezTo>
                <a:lnTo>
                  <a:pt x="5130975" y="6789819"/>
                </a:lnTo>
                <a:lnTo>
                  <a:pt x="620243" y="7374027"/>
                </a:lnTo>
                <a:lnTo>
                  <a:pt x="595618" y="7183063"/>
                </a:lnTo>
                <a:lnTo>
                  <a:pt x="643367" y="6815536"/>
                </a:lnTo>
                <a:cubicBezTo>
                  <a:pt x="932082" y="4762876"/>
                  <a:pt x="1606054" y="2200633"/>
                  <a:pt x="1874812" y="1239581"/>
                </a:cubicBezTo>
                <a:cubicBezTo>
                  <a:pt x="1415408" y="2068758"/>
                  <a:pt x="993356" y="2915911"/>
                  <a:pt x="592446" y="3773236"/>
                </a:cubicBezTo>
                <a:lnTo>
                  <a:pt x="252389" y="4521405"/>
                </a:lnTo>
                <a:lnTo>
                  <a:pt x="0" y="2564185"/>
                </a:lnTo>
                <a:lnTo>
                  <a:pt x="286966" y="2061285"/>
                </a:lnTo>
                <a:cubicBezTo>
                  <a:pt x="616643" y="1494520"/>
                  <a:pt x="955203" y="944905"/>
                  <a:pt x="1294415" y="424798"/>
                </a:cubicBezTo>
                <a:lnTo>
                  <a:pt x="1340058" y="356138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34F5AC4A-6FD4-AE1B-DE83-4DA75E86F5DC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81404B19-3C29-F557-1857-9D5B937FCD7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45EBC170-48B0-4CF4-F8CC-B91B703AA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86702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0" pos="4158">
          <p15:clr>
            <a:srgbClr val="FBAE40"/>
          </p15:clr>
        </p15:guide>
        <p15:guide id="11" pos="352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61C9325A-143B-C086-CC26-A49B2A34A1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ounded box shadow 15.4cm">
            <a:extLst>
              <a:ext uri="{FF2B5EF4-FFF2-40B4-BE49-F238E27FC236}">
                <a16:creationId xmlns:a16="http://schemas.microsoft.com/office/drawing/2014/main" id="{F9324273-5E02-E384-973C-BEB9B03CD9EB}"/>
              </a:ext>
            </a:extLst>
          </p:cNvPr>
          <p:cNvSpPr>
            <a:spLocks/>
          </p:cNvSpPr>
          <p:nvPr userDrawn="1"/>
        </p:nvSpPr>
        <p:spPr>
          <a:xfrm>
            <a:off x="6096000" y="1701000"/>
            <a:ext cx="55440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91785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ue Block">
            <a:extLst>
              <a:ext uri="{FF2B5EF4-FFF2-40B4-BE49-F238E27FC236}">
                <a16:creationId xmlns:a16="http://schemas.microsoft.com/office/drawing/2014/main" id="{12453F8B-CE7E-AFE0-3462-35D246540372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0738DAB-25E3-9346-CA31-170E03F8D7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98756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box shadow 15.4cm">
            <a:extLst>
              <a:ext uri="{FF2B5EF4-FFF2-40B4-BE49-F238E27FC236}">
                <a16:creationId xmlns:a16="http://schemas.microsoft.com/office/drawing/2014/main" id="{71AA9E56-2169-4EE4-DECA-A5FE2400A7DC}"/>
              </a:ext>
            </a:extLst>
          </p:cNvPr>
          <p:cNvSpPr>
            <a:spLocks/>
          </p:cNvSpPr>
          <p:nvPr/>
        </p:nvSpPr>
        <p:spPr>
          <a:xfrm>
            <a:off x="550800" y="1701000"/>
            <a:ext cx="55452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9AB75B78-866E-BD40-6649-790407DDB0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6548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3A8205A9-953F-940D-2D52-F3823977D145}"/>
              </a:ext>
            </a:extLst>
          </p:cNvPr>
          <p:cNvSpPr>
            <a:spLocks/>
          </p:cNvSpPr>
          <p:nvPr userDrawn="1"/>
        </p:nvSpPr>
        <p:spPr>
          <a:xfrm>
            <a:off x="6096000" y="836613"/>
            <a:ext cx="5544000" cy="5184775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1D86D189-69EC-D31E-EC4F-AC1670290D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732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2">
          <p15:clr>
            <a:srgbClr val="547EB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CB90E03C-6C50-AE93-C5CE-D641F0B03CFE}"/>
              </a:ext>
            </a:extLst>
          </p:cNvPr>
          <p:cNvSpPr>
            <a:spLocks/>
          </p:cNvSpPr>
          <p:nvPr userDrawn="1"/>
        </p:nvSpPr>
        <p:spPr>
          <a:xfrm>
            <a:off x="550800" y="836613"/>
            <a:ext cx="5545200" cy="5184775"/>
          </a:xfrm>
          <a:prstGeom prst="roundRect">
            <a:avLst>
              <a:gd name="adj" fmla="val 5218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B6654FCF-9E23-F30B-D796-174B643B33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1836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5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uiggle">
            <a:extLst>
              <a:ext uri="{FF2B5EF4-FFF2-40B4-BE49-F238E27FC236}">
                <a16:creationId xmlns:a16="http://schemas.microsoft.com/office/drawing/2014/main" id="{A28941CA-3513-CE83-4DDD-76D497F6DC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325" t="40861" r="22020" b="40196"/>
          <a:stretch/>
        </p:blipFill>
        <p:spPr>
          <a:xfrm>
            <a:off x="-1" y="3207362"/>
            <a:ext cx="7754745" cy="3650638"/>
          </a:xfrm>
          <a:prstGeom prst="rect">
            <a:avLst/>
          </a:prstGeom>
        </p:spPr>
      </p:pic>
      <p:pic>
        <p:nvPicPr>
          <p:cNvPr id="2" name="Laptop">
            <a:extLst>
              <a:ext uri="{FF2B5EF4-FFF2-40B4-BE49-F238E27FC236}">
                <a16:creationId xmlns:a16="http://schemas.microsoft.com/office/drawing/2014/main" id="{673B24E1-9478-7908-545C-1867256DD12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2" t="21192" r="5748" b="22148"/>
          <a:stretch/>
        </p:blipFill>
        <p:spPr>
          <a:xfrm>
            <a:off x="203200" y="990600"/>
            <a:ext cx="7315199" cy="4682233"/>
          </a:xfrm>
          <a:prstGeom prst="rect">
            <a:avLst/>
          </a:prstGeom>
          <a:effectLst>
            <a:outerShdw blurRad="635000" dist="190500" dir="7200000" sx="105000" sy="105000" algn="tl" rotWithShape="0">
              <a:prstClr val="black">
                <a:alpha val="20000"/>
              </a:prstClr>
            </a:outerShdw>
          </a:effec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2A86130-EA91-646F-768A-204D64E295D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1106493" y="1600200"/>
            <a:ext cx="5497507" cy="34544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EB91291E-44FC-3004-CDB6-BCAC208DA4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5601" y="2052117"/>
            <a:ext cx="3454400" cy="2753767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lang="en-GB" sz="4600" b="1" kern="1200" dirty="0">
                <a:solidFill>
                  <a:schemeClr val="tx2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0" indent="0" algn="l" defTabSz="1219170" rtl="0" eaLnBrk="1" fontAlgn="base" latinLnBrk="0" hangingPunct="1">
              <a:lnSpc>
                <a:spcPct val="13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Segoe UI Semilight" panose="020B0502040204020203" pitchFamily="34" charset="0"/>
                <a:ea typeface="+mn-ea"/>
                <a:cs typeface="Segoe UI Semilight" panose="020B0502040204020203" pitchFamily="34" charset="0"/>
              </a:defRPr>
            </a:lvl2pPr>
            <a:lvl3pPr marL="0" indent="0">
              <a:spcBef>
                <a:spcPts val="1200"/>
              </a:spcBef>
              <a:buClrTx/>
              <a:buFontTx/>
              <a:buNone/>
              <a:defRPr>
                <a:solidFill>
                  <a:schemeClr val="tx1"/>
                </a:solidFill>
              </a:defRPr>
            </a:lvl3pPr>
            <a:lvl4pPr marL="252000" indent="-252000">
              <a:spcBef>
                <a:spcPts val="12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537750" indent="-285750">
              <a:spcBef>
                <a:spcPts val="0"/>
              </a:spcBef>
              <a:buFont typeface="Symbol" panose="05050102010706020507" pitchFamily="18" charset="2"/>
              <a:buChar char=""/>
              <a:defRPr sz="1800" b="0" baseline="0"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2000">
                <a:solidFill>
                  <a:schemeClr val="accent2"/>
                </a:solidFill>
              </a:defRPr>
            </a:lvl7pPr>
            <a:lvl8pPr marL="0" indent="0"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3155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e Va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E4CD333-4BF8-EA4E-B7BF-D6560BAAA0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4906910" cy="6858000"/>
          </a:xfrm>
          <a:custGeom>
            <a:avLst/>
            <a:gdLst>
              <a:gd name="connsiteX0" fmla="*/ 0 w 9811264"/>
              <a:gd name="connsiteY0" fmla="*/ 0 h 13715999"/>
              <a:gd name="connsiteX1" fmla="*/ 5851617 w 9811264"/>
              <a:gd name="connsiteY1" fmla="*/ 0 h 13715999"/>
              <a:gd name="connsiteX2" fmla="*/ 5997745 w 9811264"/>
              <a:gd name="connsiteY2" fmla="*/ 84022 h 13715999"/>
              <a:gd name="connsiteX3" fmla="*/ 9811264 w 9811264"/>
              <a:gd name="connsiteY3" fmla="*/ 6857999 h 13715999"/>
              <a:gd name="connsiteX4" fmla="*/ 5997745 w 9811264"/>
              <a:gd name="connsiteY4" fmla="*/ 13631976 h 13715999"/>
              <a:gd name="connsiteX5" fmla="*/ 5851615 w 9811264"/>
              <a:gd name="connsiteY5" fmla="*/ 13715999 h 13715999"/>
              <a:gd name="connsiteX6" fmla="*/ 0 w 9811264"/>
              <a:gd name="connsiteY6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11264" h="13715999">
                <a:moveTo>
                  <a:pt x="0" y="0"/>
                </a:moveTo>
                <a:lnTo>
                  <a:pt x="5851617" y="0"/>
                </a:lnTo>
                <a:lnTo>
                  <a:pt x="5997745" y="84022"/>
                </a:lnTo>
                <a:cubicBezTo>
                  <a:pt x="8284039" y="1473208"/>
                  <a:pt x="9811264" y="3987253"/>
                  <a:pt x="9811264" y="6857999"/>
                </a:cubicBezTo>
                <a:cubicBezTo>
                  <a:pt x="9811264" y="9728746"/>
                  <a:pt x="8284039" y="12242790"/>
                  <a:pt x="5997745" y="13631976"/>
                </a:cubicBezTo>
                <a:lnTo>
                  <a:pt x="5851615" y="13715999"/>
                </a:lnTo>
                <a:lnTo>
                  <a:pt x="0" y="13715999"/>
                </a:lnTo>
                <a:close/>
              </a:path>
            </a:pathLst>
          </a:custGeom>
          <a:solidFill>
            <a:srgbClr val="EDFCFF"/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Segoe UI Semilight" panose="020B0402040204020203" pitchFamily="34" charset="0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C6FD7E38-F2D4-D0B2-674F-A73B7A0E4C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0" y="1691826"/>
            <a:ext cx="5543749" cy="3474349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44414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245A0CA-77D2-4622-AB84-A5AD64AEB2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269000"/>
            <a:ext cx="6096000" cy="4320000"/>
          </a:xfrm>
          <a:prstGeom prst="rect">
            <a:avLst/>
          </a:prstGeom>
          <a:solidFill>
            <a:srgbClr val="EDFCFF"/>
          </a:solidFill>
        </p:spPr>
        <p:txBody>
          <a:bodyPr bIns="756000" anchor="ctr"/>
          <a:lstStyle>
            <a:lvl1pPr marL="0" indent="0" algn="ctr"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8CE17E58-CC43-8409-A36C-95B50D3FE3E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2413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52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0266506-7111-89EA-5EFD-A5D40B6D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2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4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C5A556B7-0791-621C-816F-9C7E53970E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3074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plus Content">
            <a:extLst>
              <a:ext uri="{FF2B5EF4-FFF2-40B4-BE49-F238E27FC236}">
                <a16:creationId xmlns:a16="http://schemas.microsoft.com/office/drawing/2014/main" id="{77BF0EF0-91A4-5D2D-3D5C-50AC189ACD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1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4"/>
                </a:solidFill>
                <a:latin typeface="+mj-lt"/>
              </a:defRPr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896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&#10;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8B88125F-4DBA-4A5C-98A5-541E3DF3AB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age Number">
            <a:extLst>
              <a:ext uri="{FF2B5EF4-FFF2-40B4-BE49-F238E27FC236}">
                <a16:creationId xmlns:a16="http://schemas.microsoft.com/office/drawing/2014/main" id="{0EAB5203-EB9A-897F-4EF6-58F6F2BD253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BD4269F-8B15-0029-4910-00DF98A376D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" y="3428999"/>
            <a:ext cx="4470400" cy="3428999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chemeClr val="bg1"/>
          </a:solidFill>
        </p:spPr>
        <p:txBody>
          <a:bodyPr vert="horz" wrap="square" lIns="609600" tIns="203200" rIns="203200" bIns="203200" rtlCol="0" anchor="t" anchorCtr="0">
            <a:noAutofit/>
          </a:bodyPr>
          <a:lstStyle>
            <a:lvl1pPr algn="l">
              <a:lnSpc>
                <a:spcPct val="110000"/>
              </a:lnSpc>
              <a:defRPr lang="de-DE" sz="4600" b="1" i="0" spc="0" baseline="0" dirty="0">
                <a:solidFill>
                  <a:schemeClr val="tx2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012438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94DFF69-2016-9DA3-0C59-AD16B7737D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13" name="Block">
            <a:extLst>
              <a:ext uri="{FF2B5EF4-FFF2-40B4-BE49-F238E27FC236}">
                <a16:creationId xmlns:a16="http://schemas.microsoft.com/office/drawing/2014/main" id="{652B8FD6-74FC-514C-F519-0CBE970EAED5}"/>
              </a:ext>
            </a:extLst>
          </p:cNvPr>
          <p:cNvGrpSpPr/>
          <p:nvPr/>
        </p:nvGrpSpPr>
        <p:grpSpPr>
          <a:xfrm>
            <a:off x="0" y="0"/>
            <a:ext cx="4876800" cy="4680000"/>
            <a:chOff x="0" y="0"/>
            <a:chExt cx="4876800" cy="4648201"/>
          </a:xfrm>
        </p:grpSpPr>
        <p:sp>
          <p:nvSpPr>
            <p:cNvPr id="8" name="Bright Blue Block">
              <a:extLst>
                <a:ext uri="{FF2B5EF4-FFF2-40B4-BE49-F238E27FC236}">
                  <a16:creationId xmlns:a16="http://schemas.microsoft.com/office/drawing/2014/main" id="{55D49043-F59D-C045-9BBB-BC80EA2A2525}"/>
                </a:ext>
              </a:extLst>
            </p:cNvPr>
            <p:cNvSpPr/>
            <p:nvPr/>
          </p:nvSpPr>
          <p:spPr bwMode="white">
            <a:xfrm>
              <a:off x="0" y="1"/>
              <a:ext cx="4876800" cy="4648200"/>
            </a:xfrm>
            <a:prstGeom prst="rect">
              <a:avLst/>
            </a:prstGeom>
            <a:gradFill>
              <a:gsLst>
                <a:gs pos="71000">
                  <a:srgbClr val="538FFF"/>
                </a:gs>
                <a:gs pos="44000">
                  <a:srgbClr val="538FFF"/>
                </a:gs>
                <a:gs pos="19000">
                  <a:srgbClr val="1E52A1">
                    <a:lumMod val="93000"/>
                    <a:lumOff val="7000"/>
                  </a:srgbClr>
                </a:gs>
                <a:gs pos="100000">
                  <a:srgbClr val="538FFF"/>
                </a:gs>
                <a:gs pos="1000">
                  <a:srgbClr val="0A3B7D"/>
                </a:gs>
              </a:gsLst>
              <a:lin ang="1332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PT">
                <a:solidFill>
                  <a:schemeClr val="lt1"/>
                </a:solidFill>
              </a:endParaRPr>
            </a:p>
          </p:txBody>
        </p:sp>
        <p:sp>
          <p:nvSpPr>
            <p:cNvPr id="11" name="Squiggle">
              <a:extLst>
                <a:ext uri="{FF2B5EF4-FFF2-40B4-BE49-F238E27FC236}">
                  <a16:creationId xmlns:a16="http://schemas.microsoft.com/office/drawing/2014/main" id="{49CD59CD-2AFD-FE85-1E90-9F7833A01A25}"/>
                </a:ext>
              </a:extLst>
            </p:cNvPr>
            <p:cNvSpPr/>
            <p:nvPr/>
          </p:nvSpPr>
          <p:spPr>
            <a:xfrm>
              <a:off x="0" y="0"/>
              <a:ext cx="4876800" cy="4648200"/>
            </a:xfrm>
            <a:custGeom>
              <a:avLst/>
              <a:gdLst>
                <a:gd name="connsiteX0" fmla="*/ 0 w 4876800"/>
                <a:gd name="connsiteY0" fmla="*/ 0 h 4648200"/>
                <a:gd name="connsiteX1" fmla="*/ 2670238 w 4876800"/>
                <a:gd name="connsiteY1" fmla="*/ 0 h 4648200"/>
                <a:gd name="connsiteX2" fmla="*/ 3251333 w 4876800"/>
                <a:gd name="connsiteY2" fmla="*/ 517355 h 4648200"/>
                <a:gd name="connsiteX3" fmla="*/ 4616160 w 4876800"/>
                <a:gd name="connsiteY3" fmla="*/ 1736231 h 4648200"/>
                <a:gd name="connsiteX4" fmla="*/ 4876800 w 4876800"/>
                <a:gd name="connsiteY4" fmla="*/ 1979901 h 4648200"/>
                <a:gd name="connsiteX5" fmla="*/ 4876800 w 4876800"/>
                <a:gd name="connsiteY5" fmla="*/ 3115238 h 4648200"/>
                <a:gd name="connsiteX6" fmla="*/ 4717223 w 4876800"/>
                <a:gd name="connsiteY6" fmla="*/ 2960531 h 4648200"/>
                <a:gd name="connsiteX7" fmla="*/ 1552986 w 4876800"/>
                <a:gd name="connsiteY7" fmla="*/ 109887 h 4648200"/>
                <a:gd name="connsiteX8" fmla="*/ 4260751 w 4876800"/>
                <a:gd name="connsiteY8" fmla="*/ 4355467 h 4648200"/>
                <a:gd name="connsiteX9" fmla="*/ 4417260 w 4876800"/>
                <a:gd name="connsiteY9" fmla="*/ 4648200 h 4648200"/>
                <a:gd name="connsiteX10" fmla="*/ 390191 w 4876800"/>
                <a:gd name="connsiteY10" fmla="*/ 4648200 h 4648200"/>
                <a:gd name="connsiteX11" fmla="*/ 4695 w 4876800"/>
                <a:gd name="connsiteY11" fmla="*/ 4056511 h 4648200"/>
                <a:gd name="connsiteX12" fmla="*/ 0 w 4876800"/>
                <a:gd name="connsiteY12" fmla="*/ 4024130 h 4648200"/>
                <a:gd name="connsiteX13" fmla="*/ 0 w 4876800"/>
                <a:gd name="connsiteY13" fmla="*/ 2392129 h 4648200"/>
                <a:gd name="connsiteX14" fmla="*/ 160541 w 4876800"/>
                <a:gd name="connsiteY14" fmla="*/ 2447325 h 4648200"/>
                <a:gd name="connsiteX15" fmla="*/ 1735139 w 4876800"/>
                <a:gd name="connsiteY15" fmla="*/ 3206469 h 4648200"/>
                <a:gd name="connsiteX16" fmla="*/ 108175 w 4876800"/>
                <a:gd name="connsiteY16" fmla="*/ 418305 h 4648200"/>
                <a:gd name="connsiteX17" fmla="*/ 0 w 4876800"/>
                <a:gd name="connsiteY17" fmla="*/ 258755 h 464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76800" h="4648200">
                  <a:moveTo>
                    <a:pt x="0" y="0"/>
                  </a:moveTo>
                  <a:lnTo>
                    <a:pt x="2670238" y="0"/>
                  </a:lnTo>
                  <a:lnTo>
                    <a:pt x="3251333" y="517355"/>
                  </a:lnTo>
                  <a:cubicBezTo>
                    <a:pt x="3703273" y="916643"/>
                    <a:pt x="4152812" y="1310328"/>
                    <a:pt x="4616160" y="1736231"/>
                  </a:cubicBezTo>
                  <a:lnTo>
                    <a:pt x="4876800" y="1979901"/>
                  </a:lnTo>
                  <a:lnTo>
                    <a:pt x="4876800" y="3115238"/>
                  </a:lnTo>
                  <a:lnTo>
                    <a:pt x="4717223" y="2960531"/>
                  </a:lnTo>
                  <a:cubicBezTo>
                    <a:pt x="2977630" y="1278774"/>
                    <a:pt x="2656650" y="1112355"/>
                    <a:pt x="1552986" y="109887"/>
                  </a:cubicBezTo>
                  <a:cubicBezTo>
                    <a:pt x="2546389" y="1475815"/>
                    <a:pt x="2400157" y="885368"/>
                    <a:pt x="4260751" y="4355467"/>
                  </a:cubicBezTo>
                  <a:lnTo>
                    <a:pt x="4417260" y="4648200"/>
                  </a:lnTo>
                  <a:lnTo>
                    <a:pt x="390191" y="4648200"/>
                  </a:lnTo>
                  <a:lnTo>
                    <a:pt x="4695" y="4056511"/>
                  </a:lnTo>
                  <a:lnTo>
                    <a:pt x="0" y="4024130"/>
                  </a:lnTo>
                  <a:lnTo>
                    <a:pt x="0" y="2392129"/>
                  </a:lnTo>
                  <a:lnTo>
                    <a:pt x="160541" y="2447325"/>
                  </a:lnTo>
                  <a:cubicBezTo>
                    <a:pt x="586623" y="2597715"/>
                    <a:pt x="1118268" y="2816866"/>
                    <a:pt x="1735139" y="3206469"/>
                  </a:cubicBezTo>
                  <a:cubicBezTo>
                    <a:pt x="1612651" y="2856712"/>
                    <a:pt x="816105" y="1476499"/>
                    <a:pt x="108175" y="418305"/>
                  </a:cubicBezTo>
                  <a:lnTo>
                    <a:pt x="0" y="258755"/>
                  </a:lnTo>
                  <a:close/>
                </a:path>
              </a:pathLst>
            </a:custGeom>
            <a:gradFill>
              <a:gsLst>
                <a:gs pos="100000">
                  <a:srgbClr val="356DCA"/>
                </a:gs>
                <a:gs pos="0">
                  <a:srgbClr val="3067C1">
                    <a:lumMod val="93000"/>
                    <a:lumOff val="7000"/>
                  </a:srgbClr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4896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_Speci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Special">
            <a:extLst>
              <a:ext uri="{FF2B5EF4-FFF2-40B4-BE49-F238E27FC236}">
                <a16:creationId xmlns:a16="http://schemas.microsoft.com/office/drawing/2014/main" id="{30915A37-2073-1835-1333-20479AFB9FCE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effectLst>
            <a:fillOverlay blend="mult">
              <a:gradFill flip="none" rotWithShape="1">
                <a:gsLst>
                  <a:gs pos="27000">
                    <a:srgbClr val="072853">
                      <a:alpha val="77655"/>
                    </a:srgbClr>
                  </a:gs>
                  <a:gs pos="100000">
                    <a:srgbClr val="E3E3E3">
                      <a:lumMod val="10000"/>
                      <a:alpha val="0"/>
                    </a:srgbClr>
                  </a:gs>
                  <a:gs pos="1000">
                    <a:srgbClr val="538FFF">
                      <a:alpha val="19000"/>
                    </a:srgbClr>
                  </a:gs>
                </a:gsLst>
                <a:lin ang="18900000" scaled="1"/>
                <a:tileRect/>
              </a:gradFill>
            </a:fillOverlay>
          </a:effectLst>
        </p:spPr>
        <p:txBody>
          <a:bodyPr rtlCol="0" anchor="ctr"/>
          <a:lstStyle>
            <a:lvl1pPr algn="ctr">
              <a:defRPr kumimoji="0" lang="en-US" b="0" i="0" u="none" strike="noStrike" kern="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</a:defRPr>
            </a:lvl1pPr>
          </a:lstStyle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 </a:t>
            </a:r>
          </a:p>
        </p:txBody>
      </p:sp>
      <p:sp>
        <p:nvSpPr>
          <p:cNvPr id="2" name="Gradient Overlay">
            <a:extLst>
              <a:ext uri="{FF2B5EF4-FFF2-40B4-BE49-F238E27FC236}">
                <a16:creationId xmlns:a16="http://schemas.microsoft.com/office/drawing/2014/main" id="{B640A9B8-017D-770A-F926-BD345E7FCF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rgbClr val="072853">
                  <a:alpha val="77655"/>
                </a:srgbClr>
              </a:gs>
              <a:gs pos="100000">
                <a:srgbClr val="E3E3E3">
                  <a:lumMod val="10000"/>
                  <a:alpha val="0"/>
                </a:srgbClr>
              </a:gs>
              <a:gs pos="1000">
                <a:srgbClr val="538FFF">
                  <a:alpha val="19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76F9FC46-6208-CC39-7B3E-CA57286B34C9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A6E6DCA2-8017-4CD2-28FB-E1A0A96746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406060"/>
            <a:ext cx="5003999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321681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quiggle">
            <a:extLst>
              <a:ext uri="{FF2B5EF4-FFF2-40B4-BE49-F238E27FC236}">
                <a16:creationId xmlns:a16="http://schemas.microsoft.com/office/drawing/2014/main" id="{E6B056FC-D76E-6EEE-1F46-98B3E85BDD72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5B0DC7E5-022C-E336-ADE4-61DCBE11E4B8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Content Right">
            <a:extLst>
              <a:ext uri="{FF2B5EF4-FFF2-40B4-BE49-F238E27FC236}">
                <a16:creationId xmlns:a16="http://schemas.microsoft.com/office/drawing/2014/main" id="{7C386E73-9374-BBFB-A747-8E349BFAA0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Content Left">
            <a:extLst>
              <a:ext uri="{FF2B5EF4-FFF2-40B4-BE49-F238E27FC236}">
                <a16:creationId xmlns:a16="http://schemas.microsoft.com/office/drawing/2014/main" id="{4A32F4B5-2541-213E-96AA-F00FB8F19F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8CB23AF2-DD56-8970-5A18-031902AD91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2935028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rk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1" y="0"/>
            <a:ext cx="12191999" cy="619152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77000">
                <a:srgbClr val="3A72D2"/>
              </a:gs>
              <a:gs pos="37000">
                <a:schemeClr val="accent1"/>
              </a:gs>
              <a:gs pos="0">
                <a:schemeClr val="accent1">
                  <a:lumMod val="50000"/>
                </a:schemeClr>
              </a:gs>
              <a:gs pos="100000">
                <a:srgbClr val="508CFB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BCE1666-68F9-B23D-25CA-48CFE4798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1276021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BC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iggle">
            <a:extLst>
              <a:ext uri="{FF2B5EF4-FFF2-40B4-BE49-F238E27FC236}">
                <a16:creationId xmlns:a16="http://schemas.microsoft.com/office/drawing/2014/main" id="{7CFE2DE4-C24E-60C5-80CA-985A84B405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68" t="3430" r="5268"/>
          <a:stretch/>
        </p:blipFill>
        <p:spPr>
          <a:xfrm>
            <a:off x="0" y="0"/>
            <a:ext cx="12192001" cy="6197600"/>
          </a:xfrm>
          <a:prstGeom prst="rect">
            <a:avLst/>
          </a:prstGeom>
        </p:spPr>
      </p:pic>
      <p:sp>
        <p:nvSpPr>
          <p:cNvPr id="14" name="Content Right">
            <a:extLst>
              <a:ext uri="{FF2B5EF4-FFF2-40B4-BE49-F238E27FC236}">
                <a16:creationId xmlns:a16="http://schemas.microsoft.com/office/drawing/2014/main" id="{565FE5FD-13AB-AEFA-D1C2-F2E347DD1E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2C9CF517-E5B8-36D8-B36C-5B35A7DCAA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5615C34-CA3E-F307-1218-2A274BDD2A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2395739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CC">
    <p:bg>
      <p:bgPr>
        <a:gradFill>
          <a:gsLst>
            <a:gs pos="0">
              <a:schemeClr val="accent4"/>
            </a:gs>
            <a:gs pos="100000">
              <a:schemeClr val="accent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A2CEC2FF-1490-0554-2D76-465A5050BD16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>
            <a:gsLst>
              <a:gs pos="81000">
                <a:schemeClr val="accent4"/>
              </a:gs>
              <a:gs pos="45000">
                <a:schemeClr val="accent5"/>
              </a:gs>
              <a:gs pos="0">
                <a:schemeClr val="accent5">
                  <a:lumMod val="75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ADA28BE9-F121-8062-CBAD-9A343CD32F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6E8E9C7C-A4E7-DBB7-A0F1-558FE349EB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59DCE367-7F86-E53B-D18B-45159C29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17431639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CE">
    <p:bg>
      <p:bgPr>
        <a:gradFill>
          <a:gsLst>
            <a:gs pos="100000">
              <a:schemeClr val="accent2"/>
            </a:gs>
            <a:gs pos="1000">
              <a:schemeClr val="accent6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quiggle">
            <a:extLst>
              <a:ext uri="{FF2B5EF4-FFF2-40B4-BE49-F238E27FC236}">
                <a16:creationId xmlns:a16="http://schemas.microsoft.com/office/drawing/2014/main" id="{06464395-C2C6-ABCC-8A0F-EB434784476E}"/>
              </a:ext>
            </a:extLst>
          </p:cNvPr>
          <p:cNvSpPr/>
          <p:nvPr/>
        </p:nvSpPr>
        <p:spPr>
          <a:xfrm flipH="1">
            <a:off x="0" y="12700"/>
            <a:ext cx="12192000" cy="6845300"/>
          </a:xfrm>
          <a:custGeom>
            <a:avLst/>
            <a:gdLst>
              <a:gd name="connsiteX0" fmla="*/ 6199289 w 12192000"/>
              <a:gd name="connsiteY0" fmla="*/ 0 h 6845300"/>
              <a:gd name="connsiteX1" fmla="*/ 7203731 w 12192000"/>
              <a:gd name="connsiteY1" fmla="*/ 0 h 6845300"/>
              <a:gd name="connsiteX2" fmla="*/ 7359622 w 12192000"/>
              <a:gd name="connsiteY2" fmla="*/ 49453 h 6845300"/>
              <a:gd name="connsiteX3" fmla="*/ 8414960 w 12192000"/>
              <a:gd name="connsiteY3" fmla="*/ 1606495 h 6845300"/>
              <a:gd name="connsiteX4" fmla="*/ 5466469 w 12192000"/>
              <a:gd name="connsiteY4" fmla="*/ 2898099 h 6845300"/>
              <a:gd name="connsiteX5" fmla="*/ 5510206 w 12192000"/>
              <a:gd name="connsiteY5" fmla="*/ 2901236 h 6845300"/>
              <a:gd name="connsiteX6" fmla="*/ 5460194 w 12192000"/>
              <a:gd name="connsiteY6" fmla="*/ 2910257 h 6845300"/>
              <a:gd name="connsiteX7" fmla="*/ 5519365 w 12192000"/>
              <a:gd name="connsiteY7" fmla="*/ 2901893 h 6845300"/>
              <a:gd name="connsiteX8" fmla="*/ 5510206 w 12192000"/>
              <a:gd name="connsiteY8" fmla="*/ 2901236 h 6845300"/>
              <a:gd name="connsiteX9" fmla="*/ 5580191 w 12192000"/>
              <a:gd name="connsiteY9" fmla="*/ 2888612 h 6845300"/>
              <a:gd name="connsiteX10" fmla="*/ 11972077 w 12192000"/>
              <a:gd name="connsiteY10" fmla="*/ 2171553 h 6845300"/>
              <a:gd name="connsiteX11" fmla="*/ 12192000 w 12192000"/>
              <a:gd name="connsiteY11" fmla="*/ 2178484 h 6845300"/>
              <a:gd name="connsiteX12" fmla="*/ 12192000 w 12192000"/>
              <a:gd name="connsiteY12" fmla="*/ 5299398 h 6845300"/>
              <a:gd name="connsiteX13" fmla="*/ 12167811 w 12192000"/>
              <a:gd name="connsiteY13" fmla="*/ 5321244 h 6845300"/>
              <a:gd name="connsiteX14" fmla="*/ 6833810 w 12192000"/>
              <a:gd name="connsiteY14" fmla="*/ 6845245 h 6845300"/>
              <a:gd name="connsiteX15" fmla="*/ 4014410 w 12192000"/>
              <a:gd name="connsiteY15" fmla="*/ 5721294 h 6845300"/>
              <a:gd name="connsiteX16" fmla="*/ 6090862 w 12192000"/>
              <a:gd name="connsiteY16" fmla="*/ 5016445 h 6845300"/>
              <a:gd name="connsiteX17" fmla="*/ 8091111 w 12192000"/>
              <a:gd name="connsiteY17" fmla="*/ 4387794 h 6845300"/>
              <a:gd name="connsiteX18" fmla="*/ 133191 w 12192000"/>
              <a:gd name="connsiteY18" fmla="*/ 5201685 h 6845300"/>
              <a:gd name="connsiteX19" fmla="*/ 0 w 12192000"/>
              <a:gd name="connsiteY19" fmla="*/ 5177688 h 6845300"/>
              <a:gd name="connsiteX20" fmla="*/ 0 w 12192000"/>
              <a:gd name="connsiteY20" fmla="*/ 2436193 h 684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000" h="6845300">
                <a:moveTo>
                  <a:pt x="6199289" y="0"/>
                </a:moveTo>
                <a:lnTo>
                  <a:pt x="7203731" y="0"/>
                </a:lnTo>
                <a:lnTo>
                  <a:pt x="7359622" y="49453"/>
                </a:lnTo>
                <a:cubicBezTo>
                  <a:pt x="8204617" y="379158"/>
                  <a:pt x="8544341" y="1258039"/>
                  <a:pt x="8414960" y="1606495"/>
                </a:cubicBezTo>
                <a:cubicBezTo>
                  <a:pt x="8247843" y="2056585"/>
                  <a:pt x="5039486" y="2835429"/>
                  <a:pt x="5466469" y="2898099"/>
                </a:cubicBezTo>
                <a:lnTo>
                  <a:pt x="5510206" y="2901236"/>
                </a:lnTo>
                <a:lnTo>
                  <a:pt x="5460194" y="2910257"/>
                </a:lnTo>
                <a:cubicBezTo>
                  <a:pt x="5292756" y="2940883"/>
                  <a:pt x="5292153" y="2943234"/>
                  <a:pt x="5519365" y="2901893"/>
                </a:cubicBezTo>
                <a:lnTo>
                  <a:pt x="5510206" y="2901236"/>
                </a:lnTo>
                <a:lnTo>
                  <a:pt x="5580191" y="2888612"/>
                </a:lnTo>
                <a:cubicBezTo>
                  <a:pt x="6521601" y="2720756"/>
                  <a:pt x="10015123" y="2137155"/>
                  <a:pt x="11972077" y="2171553"/>
                </a:cubicBezTo>
                <a:lnTo>
                  <a:pt x="12192000" y="2178484"/>
                </a:lnTo>
                <a:lnTo>
                  <a:pt x="12192000" y="5299398"/>
                </a:lnTo>
                <a:lnTo>
                  <a:pt x="12167811" y="5321244"/>
                </a:lnTo>
                <a:cubicBezTo>
                  <a:pt x="11357127" y="6035619"/>
                  <a:pt x="8192710" y="6781745"/>
                  <a:pt x="6833810" y="6845245"/>
                </a:cubicBezTo>
                <a:cubicBezTo>
                  <a:pt x="5589211" y="6851595"/>
                  <a:pt x="4014410" y="6315019"/>
                  <a:pt x="4014410" y="5721294"/>
                </a:cubicBezTo>
                <a:cubicBezTo>
                  <a:pt x="4014410" y="5127569"/>
                  <a:pt x="5411411" y="5238695"/>
                  <a:pt x="6090862" y="5016445"/>
                </a:cubicBezTo>
                <a:cubicBezTo>
                  <a:pt x="6770312" y="4794195"/>
                  <a:pt x="9538911" y="4140145"/>
                  <a:pt x="8091111" y="4387794"/>
                </a:cubicBezTo>
                <a:cubicBezTo>
                  <a:pt x="6733800" y="4619965"/>
                  <a:pt x="1980415" y="5478145"/>
                  <a:pt x="133191" y="5201685"/>
                </a:cubicBezTo>
                <a:lnTo>
                  <a:pt x="0" y="5177688"/>
                </a:lnTo>
                <a:lnTo>
                  <a:pt x="0" y="2436193"/>
                </a:lnTo>
                <a:close/>
              </a:path>
            </a:pathLst>
          </a:custGeom>
          <a:gradFill flip="none" rotWithShape="1">
            <a:gsLst>
              <a:gs pos="89000">
                <a:srgbClr val="00B8E1"/>
              </a:gs>
              <a:gs pos="58000">
                <a:srgbClr val="00B9BB"/>
              </a:gs>
              <a:gs pos="13000">
                <a:schemeClr val="accent6"/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C838D4E0-5FA5-149F-DA63-5537298677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D97221C-C54B-48A3-07B5-36612F448B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DE9B26B4-B170-0585-EE3B-86F2524427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1010950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">
    <p:bg>
      <p:bgPr>
        <a:gradFill>
          <a:gsLst>
            <a:gs pos="0">
              <a:schemeClr val="accent2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90000">
                <a:schemeClr val="accent2"/>
              </a:gs>
              <a:gs pos="37000">
                <a:schemeClr val="accent3"/>
              </a:gs>
              <a:gs pos="0">
                <a:schemeClr val="accent3">
                  <a:lumMod val="50000"/>
                </a:schemeClr>
              </a:gs>
              <a:gs pos="100000">
                <a:schemeClr val="accent2">
                  <a:lumMod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B1FFFD7-DD5D-2FB2-1E99-087C94150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417960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111574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97884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>
            <a:extLst>
              <a:ext uri="{FF2B5EF4-FFF2-40B4-BE49-F238E27FC236}">
                <a16:creationId xmlns:a16="http://schemas.microsoft.com/office/drawing/2014/main" id="{14714A40-A869-BCD1-091E-69FC8C5C546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441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CD45725-0FF6-4B65-0D2B-7A5FCDC3F3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Orange Block">
            <a:extLst>
              <a:ext uri="{FF2B5EF4-FFF2-40B4-BE49-F238E27FC236}">
                <a16:creationId xmlns:a16="http://schemas.microsoft.com/office/drawing/2014/main" id="{DB0B598B-C9D6-DAE8-E909-26110C40CEA7}"/>
              </a:ext>
            </a:extLst>
          </p:cNvPr>
          <p:cNvSpPr/>
          <p:nvPr/>
        </p:nvSpPr>
        <p:spPr bwMode="white">
          <a:xfrm>
            <a:off x="0" y="-1"/>
            <a:ext cx="4876800" cy="4680000"/>
          </a:xfrm>
          <a:prstGeom prst="rect">
            <a:avLst/>
          </a:prstGeom>
          <a:gradFill>
            <a:gsLst>
              <a:gs pos="35000">
                <a:srgbClr val="E65A03"/>
              </a:gs>
              <a:gs pos="100000">
                <a:srgbClr val="F07900"/>
              </a:gs>
              <a:gs pos="0">
                <a:srgbClr val="E55703"/>
              </a:gs>
            </a:gsLst>
            <a:lin ang="189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 2">
            <a:extLst>
              <a:ext uri="{FF2B5EF4-FFF2-40B4-BE49-F238E27FC236}">
                <a16:creationId xmlns:a16="http://schemas.microsoft.com/office/drawing/2014/main" id="{4F9839D8-DD34-BF32-8C9A-D4A351E9EF3D}"/>
              </a:ext>
            </a:extLst>
          </p:cNvPr>
          <p:cNvSpPr/>
          <p:nvPr/>
        </p:nvSpPr>
        <p:spPr>
          <a:xfrm>
            <a:off x="406400" y="1949493"/>
            <a:ext cx="4458342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E86301"/>
              </a:gs>
              <a:gs pos="35000">
                <a:srgbClr val="E86101"/>
              </a:gs>
              <a:gs pos="100000">
                <a:srgbClr val="E86101"/>
              </a:gs>
              <a:gs pos="0">
                <a:srgbClr val="E862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Squiggle 1">
            <a:extLst>
              <a:ext uri="{FF2B5EF4-FFF2-40B4-BE49-F238E27FC236}">
                <a16:creationId xmlns:a16="http://schemas.microsoft.com/office/drawing/2014/main" id="{C37ACE55-304C-EC98-D7F7-78C4D2DAA204}"/>
              </a:ext>
            </a:extLst>
          </p:cNvPr>
          <p:cNvSpPr/>
          <p:nvPr/>
        </p:nvSpPr>
        <p:spPr>
          <a:xfrm>
            <a:off x="12700" y="12700"/>
            <a:ext cx="3143251" cy="40767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0000">
                <a:srgbClr val="EB6A01"/>
              </a:gs>
              <a:gs pos="35000">
                <a:srgbClr val="EA6801"/>
              </a:gs>
              <a:gs pos="100000">
                <a:srgbClr val="EB6A01"/>
              </a:gs>
              <a:gs pos="0">
                <a:srgbClr val="EB6A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39859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quiggle">
            <a:extLst>
              <a:ext uri="{FF2B5EF4-FFF2-40B4-BE49-F238E27FC236}">
                <a16:creationId xmlns:a16="http://schemas.microsoft.com/office/drawing/2014/main" id="{5E6E4728-D40D-35DA-66B0-22FC4E6E8CDE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C1A5A066-7C32-E9BB-5006-1E1E179DF5DD}"/>
              </a:ext>
            </a:extLst>
          </p:cNvPr>
          <p:cNvSpPr/>
          <p:nvPr/>
        </p:nvSpPr>
        <p:spPr bwMode="black">
          <a:xfrm>
            <a:off x="4368800" y="2961927"/>
            <a:ext cx="3454400" cy="934146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396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4="http://schemas.microsoft.com/office/drawing/2010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528A10-E9D5-56B2-BAA2-A2CFEBBCA5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Green Block">
            <a:extLst>
              <a:ext uri="{FF2B5EF4-FFF2-40B4-BE49-F238E27FC236}">
                <a16:creationId xmlns:a16="http://schemas.microsoft.com/office/drawing/2014/main" id="{61D5DE2B-4FC1-5593-B3EE-6E52BCCF57EB}"/>
              </a:ext>
            </a:extLst>
          </p:cNvPr>
          <p:cNvSpPr/>
          <p:nvPr/>
        </p:nvSpPr>
        <p:spPr bwMode="white">
          <a:xfrm>
            <a:off x="0" y="1"/>
            <a:ext cx="4876800" cy="4680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23000">
                <a:schemeClr val="accent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PT">
              <a:solidFill>
                <a:schemeClr val="lt1"/>
              </a:solidFill>
            </a:endParaRPr>
          </a:p>
        </p:txBody>
      </p:sp>
      <p:sp>
        <p:nvSpPr>
          <p:cNvPr id="11" name="Squiggle 2">
            <a:extLst>
              <a:ext uri="{FF2B5EF4-FFF2-40B4-BE49-F238E27FC236}">
                <a16:creationId xmlns:a16="http://schemas.microsoft.com/office/drawing/2014/main" id="{8CC02ACD-8210-40F4-BF0E-D9A8942532F0}"/>
              </a:ext>
            </a:extLst>
          </p:cNvPr>
          <p:cNvSpPr/>
          <p:nvPr/>
        </p:nvSpPr>
        <p:spPr>
          <a:xfrm>
            <a:off x="418458" y="1949496"/>
            <a:ext cx="4458342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00B9B4"/>
              </a:gs>
              <a:gs pos="40000">
                <a:schemeClr val="accent6"/>
              </a:gs>
              <a:gs pos="100000">
                <a:schemeClr val="accent6"/>
              </a:gs>
              <a:gs pos="12000">
                <a:schemeClr val="accent6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Squiggle 1">
            <a:extLst>
              <a:ext uri="{FF2B5EF4-FFF2-40B4-BE49-F238E27FC236}">
                <a16:creationId xmlns:a16="http://schemas.microsoft.com/office/drawing/2014/main" id="{1685A533-6680-6637-C9CD-3D80C64A7375}"/>
              </a:ext>
            </a:extLst>
          </p:cNvPr>
          <p:cNvSpPr/>
          <p:nvPr/>
        </p:nvSpPr>
        <p:spPr>
          <a:xfrm>
            <a:off x="0" y="1"/>
            <a:ext cx="3905250" cy="46800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1000">
                <a:srgbClr val="00BB8B"/>
              </a:gs>
              <a:gs pos="100000">
                <a:schemeClr val="accent6"/>
              </a:gs>
              <a:gs pos="41000">
                <a:schemeClr val="accent6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0406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A49053-BE6C-1C4D-CB70-DBBAF999C80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2687011-3214-FD25-1181-F605A9CA6455}"/>
              </a:ext>
            </a:extLst>
          </p:cNvPr>
          <p:cNvSpPr/>
          <p:nvPr userDrawn="1"/>
        </p:nvSpPr>
        <p:spPr bwMode="white">
          <a:xfrm>
            <a:off x="0" y="-1"/>
            <a:ext cx="4876800" cy="4680000"/>
          </a:xfrm>
          <a:prstGeom prst="rect">
            <a:avLst/>
          </a:prstGeom>
          <a:gradFill flip="none" rotWithShape="1">
            <a:gsLst>
              <a:gs pos="50000">
                <a:srgbClr val="3AAEF6"/>
              </a:gs>
              <a:gs pos="100000">
                <a:srgbClr val="4F9DFD"/>
              </a:gs>
              <a:gs pos="0">
                <a:srgbClr val="04B8E2"/>
              </a:gs>
            </a:gsLst>
            <a:lin ang="18000000" scaled="0"/>
            <a:tileRect/>
          </a:gradFill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">
            <a:extLst>
              <a:ext uri="{FF2B5EF4-FFF2-40B4-BE49-F238E27FC236}">
                <a16:creationId xmlns:a16="http://schemas.microsoft.com/office/drawing/2014/main" id="{18F540EF-87D8-0E44-F690-9F7604110481}"/>
              </a:ext>
            </a:extLst>
          </p:cNvPr>
          <p:cNvSpPr/>
          <p:nvPr/>
        </p:nvSpPr>
        <p:spPr>
          <a:xfrm>
            <a:off x="0" y="0"/>
            <a:ext cx="4876800" cy="4680000"/>
          </a:xfrm>
          <a:custGeom>
            <a:avLst/>
            <a:gdLst>
              <a:gd name="connsiteX0" fmla="*/ 4876800 w 4876800"/>
              <a:gd name="connsiteY0" fmla="*/ 3948026 h 4648200"/>
              <a:gd name="connsiteX1" fmla="*/ 4876800 w 4876800"/>
              <a:gd name="connsiteY1" fmla="*/ 4648200 h 4648200"/>
              <a:gd name="connsiteX2" fmla="*/ 3641772 w 4876800"/>
              <a:gd name="connsiteY2" fmla="*/ 4648200 h 4648200"/>
              <a:gd name="connsiteX3" fmla="*/ 2979537 w 4876800"/>
              <a:gd name="connsiteY3" fmla="*/ 0 h 4648200"/>
              <a:gd name="connsiteX4" fmla="*/ 4799703 w 4876800"/>
              <a:gd name="connsiteY4" fmla="*/ 0 h 4648200"/>
              <a:gd name="connsiteX5" fmla="*/ 4807781 w 4876800"/>
              <a:gd name="connsiteY5" fmla="*/ 25078 h 4648200"/>
              <a:gd name="connsiteX6" fmla="*/ 4876075 w 4876800"/>
              <a:gd name="connsiteY6" fmla="*/ 276777 h 4648200"/>
              <a:gd name="connsiteX7" fmla="*/ 4876800 w 4876800"/>
              <a:gd name="connsiteY7" fmla="*/ 279858 h 4648200"/>
              <a:gd name="connsiteX8" fmla="*/ 4876800 w 4876800"/>
              <a:gd name="connsiteY8" fmla="*/ 2099726 h 4648200"/>
              <a:gd name="connsiteX9" fmla="*/ 3571982 w 4876800"/>
              <a:gd name="connsiteY9" fmla="*/ 4648200 h 4648200"/>
              <a:gd name="connsiteX10" fmla="*/ 57811 w 4876800"/>
              <a:gd name="connsiteY10" fmla="*/ 4648200 h 4648200"/>
              <a:gd name="connsiteX11" fmla="*/ 671862 w 4876800"/>
              <a:gd name="connsiteY11" fmla="*/ 0 h 4648200"/>
              <a:gd name="connsiteX12" fmla="*/ 2817209 w 4876800"/>
              <a:gd name="connsiteY12" fmla="*/ 0 h 4648200"/>
              <a:gd name="connsiteX13" fmla="*/ 0 w 4876800"/>
              <a:gd name="connsiteY13" fmla="*/ 2583289 h 4648200"/>
              <a:gd name="connsiteX14" fmla="*/ 0 w 4876800"/>
              <a:gd name="connsiteY14" fmla="*/ 534044 h 464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876800" h="4648200">
                <a:moveTo>
                  <a:pt x="4876800" y="3948026"/>
                </a:moveTo>
                <a:lnTo>
                  <a:pt x="4876800" y="4648200"/>
                </a:lnTo>
                <a:lnTo>
                  <a:pt x="3641772" y="4648200"/>
                </a:lnTo>
                <a:close/>
                <a:moveTo>
                  <a:pt x="2979537" y="0"/>
                </a:moveTo>
                <a:lnTo>
                  <a:pt x="4799703" y="0"/>
                </a:lnTo>
                <a:lnTo>
                  <a:pt x="4807781" y="25078"/>
                </a:lnTo>
                <a:cubicBezTo>
                  <a:pt x="4831182" y="102611"/>
                  <a:pt x="4853944" y="186832"/>
                  <a:pt x="4876075" y="276777"/>
                </a:cubicBezTo>
                <a:lnTo>
                  <a:pt x="4876800" y="279858"/>
                </a:lnTo>
                <a:lnTo>
                  <a:pt x="4876800" y="2099726"/>
                </a:lnTo>
                <a:lnTo>
                  <a:pt x="3571982" y="4648200"/>
                </a:lnTo>
                <a:lnTo>
                  <a:pt x="57811" y="4648200"/>
                </a:lnTo>
                <a:close/>
                <a:moveTo>
                  <a:pt x="671862" y="0"/>
                </a:moveTo>
                <a:lnTo>
                  <a:pt x="2817209" y="0"/>
                </a:lnTo>
                <a:lnTo>
                  <a:pt x="0" y="2583289"/>
                </a:lnTo>
                <a:lnTo>
                  <a:pt x="0" y="534044"/>
                </a:lnTo>
                <a:close/>
              </a:path>
            </a:pathLst>
          </a:custGeom>
          <a:gradFill>
            <a:gsLst>
              <a:gs pos="100000">
                <a:srgbClr val="399BF5"/>
              </a:gs>
              <a:gs pos="0">
                <a:srgbClr val="26A4EE"/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8916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76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ags" Target="../tags/tag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3" name="Additional Element concept" hidden="1">
            <a:extLst>
              <a:ext uri="{FF2B5EF4-FFF2-40B4-BE49-F238E27FC236}">
                <a16:creationId xmlns:a16="http://schemas.microsoft.com/office/drawing/2014/main" id="{3CAB6135-C290-663C-9345-16E108620336}"/>
              </a:ext>
            </a:extLst>
          </p:cNvPr>
          <p:cNvGrpSpPr/>
          <p:nvPr/>
        </p:nvGrpSpPr>
        <p:grpSpPr>
          <a:xfrm>
            <a:off x="609600" y="76200"/>
            <a:ext cx="10972800" cy="6705600"/>
            <a:chOff x="609600" y="76200"/>
            <a:chExt cx="10972800" cy="6705600"/>
          </a:xfrm>
        </p:grpSpPr>
        <p:sp>
          <p:nvSpPr>
            <p:cNvPr id="665" name="Page / Seite Nennfeld" hidden="1">
              <a:extLst>
                <a:ext uri="{FF2B5EF4-FFF2-40B4-BE49-F238E27FC236}">
                  <a16:creationId xmlns:a16="http://schemas.microsoft.com/office/drawing/2014/main" id="{7CD9DD86-11AE-049F-4411-63D077925911}"/>
                </a:ext>
              </a:extLst>
            </p:cNvPr>
            <p:cNvSpPr/>
            <p:nvPr/>
          </p:nvSpPr>
          <p:spPr>
            <a:xfrm>
              <a:off x="10160000" y="6578600"/>
              <a:ext cx="1219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 dirty="0">
                  <a:solidFill>
                    <a:schemeClr val="tx1"/>
                  </a:solidFill>
                </a:rPr>
                <a:t>Page / </a:t>
              </a:r>
              <a:r>
                <a:rPr lang="en-US" sz="900" baseline="0" dirty="0" err="1">
                  <a:solidFill>
                    <a:schemeClr val="tx1"/>
                  </a:solidFill>
                </a:rPr>
                <a:t>Seite</a:t>
              </a:r>
              <a:endParaRPr lang="en-US" sz="900" baseline="0" dirty="0">
                <a:solidFill>
                  <a:schemeClr val="tx1"/>
                </a:solidFill>
              </a:endParaRPr>
            </a:p>
          </p:txBody>
        </p:sp>
        <p:sp>
          <p:nvSpPr>
            <p:cNvPr id="666" name="Confidential Field" hidden="1">
              <a:extLst>
                <a:ext uri="{FF2B5EF4-FFF2-40B4-BE49-F238E27FC236}">
                  <a16:creationId xmlns:a16="http://schemas.microsoft.com/office/drawing/2014/main" id="{ADE8244B-C860-A752-2444-B6AE0E542F15}"/>
                </a:ext>
              </a:extLst>
            </p:cNvPr>
            <p:cNvSpPr/>
            <p:nvPr/>
          </p:nvSpPr>
          <p:spPr>
            <a:xfrm>
              <a:off x="4470400" y="6578600"/>
              <a:ext cx="3251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ct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 dirty="0">
                  <a:solidFill>
                    <a:schemeClr val="tx1"/>
                  </a:solidFill>
                </a:rPr>
                <a:t>Confidential</a:t>
              </a:r>
            </a:p>
          </p:txBody>
        </p:sp>
        <p:sp>
          <p:nvSpPr>
            <p:cNvPr id="669" name="Footnote" hidden="1">
              <a:extLst>
                <a:ext uri="{FF2B5EF4-FFF2-40B4-BE49-F238E27FC236}">
                  <a16:creationId xmlns:a16="http://schemas.microsoft.com/office/drawing/2014/main" id="{2F0FFB9C-ECFB-EAB1-4C0A-6FF74BCA4EA9}"/>
                </a:ext>
              </a:extLst>
            </p:cNvPr>
            <p:cNvSpPr txBox="1"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609600" y="6324600"/>
              <a:ext cx="91440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/>
                <a:t>Footnote/Source: Insert information here</a:t>
              </a:r>
              <a:endParaRPr lang="en-US" altLang="ko-KR" sz="900" kern="0" dirty="0"/>
            </a:p>
          </p:txBody>
        </p:sp>
        <p:sp>
          <p:nvSpPr>
            <p:cNvPr id="670" name="Breadrump" hidden="1">
              <a:extLst>
                <a:ext uri="{FF2B5EF4-FFF2-40B4-BE49-F238E27FC236}">
                  <a16:creationId xmlns:a16="http://schemas.microsoft.com/office/drawing/2014/main" id="{3EA69488-F646-6AB9-FF03-F551E769852D}"/>
                </a:ext>
              </a:extLst>
            </p:cNvPr>
            <p:cNvSpPr txBox="1"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609600" y="76200"/>
              <a:ext cx="54864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/>
                <a:t>Breadcrump/ Navigation</a:t>
              </a:r>
              <a:endParaRPr lang="en-US" altLang="ko-KR" sz="900" kern="0" dirty="0"/>
            </a:p>
          </p:txBody>
        </p:sp>
        <p:sp>
          <p:nvSpPr>
            <p:cNvPr id="671" name="Stamp" hidden="1">
              <a:extLst>
                <a:ext uri="{FF2B5EF4-FFF2-40B4-BE49-F238E27FC236}">
                  <a16:creationId xmlns:a16="http://schemas.microsoft.com/office/drawing/2014/main" id="{00FF0B6B-AF42-66E6-E533-D258D7A6F6A6}"/>
                </a:ext>
              </a:extLst>
            </p:cNvPr>
            <p:cNvSpPr/>
            <p:nvPr/>
          </p:nvSpPr>
          <p:spPr>
            <a:xfrm>
              <a:off x="10160000" y="6273800"/>
              <a:ext cx="1422400" cy="304800"/>
            </a:xfrm>
            <a:prstGeom prst="rect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>
                  <a:solidFill>
                    <a:schemeClr val="tx1"/>
                  </a:solidFill>
                </a:rPr>
                <a:t>Stamp</a:t>
              </a:r>
              <a:endParaRPr lang="en-US" sz="900" baseline="0" dirty="0">
                <a:solidFill>
                  <a:schemeClr val="tx1"/>
                </a:solidFill>
              </a:endParaRPr>
            </a:p>
          </p:txBody>
        </p:sp>
        <p:sp>
          <p:nvSpPr>
            <p:cNvPr id="672" name="Subtitle" hidden="1">
              <a:extLst>
                <a:ext uri="{FF2B5EF4-FFF2-40B4-BE49-F238E27FC236}">
                  <a16:creationId xmlns:a16="http://schemas.microsoft.com/office/drawing/2014/main" id="{7F921553-F921-5C2D-93C0-0AD5E0633E08}"/>
                </a:ext>
              </a:extLst>
            </p:cNvPr>
            <p:cNvSpPr txBox="1"/>
            <p:nvPr/>
          </p:nvSpPr>
          <p:spPr>
            <a:xfrm>
              <a:off x="609600" y="990600"/>
              <a:ext cx="9144000" cy="609600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ts val="3200"/>
                </a:lnSpc>
                <a:spcBef>
                  <a:spcPts val="0"/>
                </a:spcBef>
                <a:spcAft>
                  <a:spcPts val="1600"/>
                </a:spcAft>
              </a:pPr>
              <a:r>
                <a:rPr lang="en-US" sz="2400" b="0" i="0" u="none" baseline="0">
                  <a:solidFill>
                    <a:schemeClr val="tx1"/>
                  </a:solidFill>
                </a:rPr>
                <a:t>Subtitle</a:t>
              </a:r>
              <a:endParaRPr lang="en-US" sz="2400" b="0" i="0" u="none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39" name="Grid Support" hidden="1">
            <a:extLst>
              <a:ext uri="{FF2B5EF4-FFF2-40B4-BE49-F238E27FC236}">
                <a16:creationId xmlns:a16="http://schemas.microsoft.com/office/drawing/2014/main" id="{3FC3C060-626A-8DA3-5705-2484FEC01CB9}"/>
              </a:ext>
            </a:extLst>
          </p:cNvPr>
          <p:cNvGrpSpPr/>
          <p:nvPr/>
        </p:nvGrpSpPr>
        <p:grpSpPr>
          <a:xfrm>
            <a:off x="-355600" y="-330200"/>
            <a:ext cx="12344400" cy="7112000"/>
            <a:chOff x="-355600" y="-330200"/>
            <a:chExt cx="12344400" cy="7112000"/>
          </a:xfrm>
        </p:grpSpPr>
        <p:cxnSp>
          <p:nvCxnSpPr>
            <p:cNvPr id="538" name="Straight Connector 537">
              <a:extLst>
                <a:ext uri="{FF2B5EF4-FFF2-40B4-BE49-F238E27FC236}">
                  <a16:creationId xmlns:a16="http://schemas.microsoft.com/office/drawing/2014/main" id="{0CFD96D7-F7B5-142F-EAE5-D5F9F2FDBA5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9" name="Straight Connector 538">
              <a:extLst>
                <a:ext uri="{FF2B5EF4-FFF2-40B4-BE49-F238E27FC236}">
                  <a16:creationId xmlns:a16="http://schemas.microsoft.com/office/drawing/2014/main" id="{93331221-5891-F22B-9F08-47C0C7EFF474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8FEB61DE-45BD-3922-7B29-B2F82EDCF557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6F040774-B3E2-327F-8228-FABA92804614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1B16B9D2-E67B-9BF5-B72C-0B2E23F28594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66C23595-8A8F-45BD-CF53-7F7710DC2A6C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E2788A33-1A09-CE11-1894-7EC10E5D8178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0E61A20A-A2C4-25A4-1AA7-1102AE8F3091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7656E82D-EFB5-8016-F7CD-C0A4DB1B004E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7" name="Straight Connector 546">
              <a:extLst>
                <a:ext uri="{FF2B5EF4-FFF2-40B4-BE49-F238E27FC236}">
                  <a16:creationId xmlns:a16="http://schemas.microsoft.com/office/drawing/2014/main" id="{293A0ADB-DA88-9B06-BAC5-17329C9EAC90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8" name="Straight Connector 547">
              <a:extLst>
                <a:ext uri="{FF2B5EF4-FFF2-40B4-BE49-F238E27FC236}">
                  <a16:creationId xmlns:a16="http://schemas.microsoft.com/office/drawing/2014/main" id="{1F59ACCC-FD64-918D-366A-5542B4BA550C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40ACAE32-50B6-C70C-0F52-5F5380042B5B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A7FF8456-C360-6D94-F32E-794DEB3B6724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1" name="Straight Connector 550">
              <a:extLst>
                <a:ext uri="{FF2B5EF4-FFF2-40B4-BE49-F238E27FC236}">
                  <a16:creationId xmlns:a16="http://schemas.microsoft.com/office/drawing/2014/main" id="{06CF12CE-84A0-9E99-1624-69658645935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2" name="Straight Connector 551">
              <a:extLst>
                <a:ext uri="{FF2B5EF4-FFF2-40B4-BE49-F238E27FC236}">
                  <a16:creationId xmlns:a16="http://schemas.microsoft.com/office/drawing/2014/main" id="{735CC67A-A18F-8FD4-9970-F34FC5C6F249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F3357DD9-6F01-67C5-B320-67F664F641F4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CA33B3A5-F75F-8D28-BA5B-E41A87A18616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5" name="Straight Connector 554">
              <a:extLst>
                <a:ext uri="{FF2B5EF4-FFF2-40B4-BE49-F238E27FC236}">
                  <a16:creationId xmlns:a16="http://schemas.microsoft.com/office/drawing/2014/main" id="{E0D02517-0B0D-B225-B7AF-7BAF2152A122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6" name="Straight Connector 555">
              <a:extLst>
                <a:ext uri="{FF2B5EF4-FFF2-40B4-BE49-F238E27FC236}">
                  <a16:creationId xmlns:a16="http://schemas.microsoft.com/office/drawing/2014/main" id="{8D06E266-C205-032D-0645-E190D504C1A0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7" name="Straight Connector 556">
              <a:extLst>
                <a:ext uri="{FF2B5EF4-FFF2-40B4-BE49-F238E27FC236}">
                  <a16:creationId xmlns:a16="http://schemas.microsoft.com/office/drawing/2014/main" id="{9D0657A7-D706-9062-85D2-D025DE8F8C11}"/>
                </a:ext>
              </a:extLst>
            </p:cNvPr>
            <p:cNvCxnSpPr>
              <a:cxnSpLocks/>
            </p:cNvCxnSpPr>
            <p:nvPr/>
          </p:nvCxnSpPr>
          <p:spPr>
            <a:xfrm>
              <a:off x="43688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8" name="Straight Connector 557">
              <a:extLst>
                <a:ext uri="{FF2B5EF4-FFF2-40B4-BE49-F238E27FC236}">
                  <a16:creationId xmlns:a16="http://schemas.microsoft.com/office/drawing/2014/main" id="{4F2F43BA-6928-67CB-C74E-A71348D93D31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9" name="Straight Connector 558">
              <a:extLst>
                <a:ext uri="{FF2B5EF4-FFF2-40B4-BE49-F238E27FC236}">
                  <a16:creationId xmlns:a16="http://schemas.microsoft.com/office/drawing/2014/main" id="{D71CA8D1-91D8-ADA9-A053-31B219F8C7FB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0" name="Straight Connector 559">
              <a:extLst>
                <a:ext uri="{FF2B5EF4-FFF2-40B4-BE49-F238E27FC236}">
                  <a16:creationId xmlns:a16="http://schemas.microsoft.com/office/drawing/2014/main" id="{9625713D-65A9-F3F2-4B72-605481BC5805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1" name="Straight Connector 560">
              <a:extLst>
                <a:ext uri="{FF2B5EF4-FFF2-40B4-BE49-F238E27FC236}">
                  <a16:creationId xmlns:a16="http://schemas.microsoft.com/office/drawing/2014/main" id="{6C0B6D21-1494-A9D8-22A5-38FE6EEE9A2F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2" name="Straight Connector 561">
              <a:extLst>
                <a:ext uri="{FF2B5EF4-FFF2-40B4-BE49-F238E27FC236}">
                  <a16:creationId xmlns:a16="http://schemas.microsoft.com/office/drawing/2014/main" id="{4E732CF3-B199-FD77-B7D5-0243115D2CD5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3" name="Straight Connector 562">
              <a:extLst>
                <a:ext uri="{FF2B5EF4-FFF2-40B4-BE49-F238E27FC236}">
                  <a16:creationId xmlns:a16="http://schemas.microsoft.com/office/drawing/2014/main" id="{F761F265-49ED-52D2-6332-0E82EAD4C9C5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4" name="Straight Connector 563">
              <a:extLst>
                <a:ext uri="{FF2B5EF4-FFF2-40B4-BE49-F238E27FC236}">
                  <a16:creationId xmlns:a16="http://schemas.microsoft.com/office/drawing/2014/main" id="{9D967D66-07B9-A192-15E7-012E074CB12C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>
              <a:extLst>
                <a:ext uri="{FF2B5EF4-FFF2-40B4-BE49-F238E27FC236}">
                  <a16:creationId xmlns:a16="http://schemas.microsoft.com/office/drawing/2014/main" id="{BA139CE2-F936-A4C0-5A31-74541FC268BD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>
              <a:extLst>
                <a:ext uri="{FF2B5EF4-FFF2-40B4-BE49-F238E27FC236}">
                  <a16:creationId xmlns:a16="http://schemas.microsoft.com/office/drawing/2014/main" id="{A06217BC-A172-8826-5B1A-1815842DFB8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-330200"/>
              <a:ext cx="0" cy="2540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>
              <a:extLst>
                <a:ext uri="{FF2B5EF4-FFF2-40B4-BE49-F238E27FC236}">
                  <a16:creationId xmlns:a16="http://schemas.microsoft.com/office/drawing/2014/main" id="{4D5739CD-2EFA-DF52-32B2-AA6C209D294C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>
              <a:extLst>
                <a:ext uri="{FF2B5EF4-FFF2-40B4-BE49-F238E27FC236}">
                  <a16:creationId xmlns:a16="http://schemas.microsoft.com/office/drawing/2014/main" id="{EA3FD892-82CF-FD02-2480-825A51776510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>
              <a:extLst>
                <a:ext uri="{FF2B5EF4-FFF2-40B4-BE49-F238E27FC236}">
                  <a16:creationId xmlns:a16="http://schemas.microsoft.com/office/drawing/2014/main" id="{970C8D3E-5A6F-3A23-4E0C-A52288113B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>
              <a:extLst>
                <a:ext uri="{FF2B5EF4-FFF2-40B4-BE49-F238E27FC236}">
                  <a16:creationId xmlns:a16="http://schemas.microsoft.com/office/drawing/2014/main" id="{70661C4C-8175-B216-7221-D54CF1B4FCBE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" name="Straight Connector 570">
              <a:extLst>
                <a:ext uri="{FF2B5EF4-FFF2-40B4-BE49-F238E27FC236}">
                  <a16:creationId xmlns:a16="http://schemas.microsoft.com/office/drawing/2014/main" id="{AF1955BD-A748-756E-D7ED-B2D35A39AB2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2" name="Straight Connector 571">
              <a:extLst>
                <a:ext uri="{FF2B5EF4-FFF2-40B4-BE49-F238E27FC236}">
                  <a16:creationId xmlns:a16="http://schemas.microsoft.com/office/drawing/2014/main" id="{4574CF1F-0C89-73FD-EC23-7E46DA1F08B5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>
              <a:extLst>
                <a:ext uri="{FF2B5EF4-FFF2-40B4-BE49-F238E27FC236}">
                  <a16:creationId xmlns:a16="http://schemas.microsoft.com/office/drawing/2014/main" id="{F131D6EB-5F2C-A5BB-E98C-547D82245228}"/>
                </a:ext>
              </a:extLst>
            </p:cNvPr>
            <p:cNvCxnSpPr>
              <a:cxnSpLocks/>
            </p:cNvCxnSpPr>
            <p:nvPr/>
          </p:nvCxnSpPr>
          <p:spPr>
            <a:xfrm>
              <a:off x="78232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4" name="Straight Connector 573">
              <a:extLst>
                <a:ext uri="{FF2B5EF4-FFF2-40B4-BE49-F238E27FC236}">
                  <a16:creationId xmlns:a16="http://schemas.microsoft.com/office/drawing/2014/main" id="{5247B6BA-7C8A-995A-C56A-489017203A7C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C1D0666E-E92D-2534-33FC-81B3D5B33E9D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6E9A317-3C78-6F86-E665-ECD03079B65E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025B8986-9FC6-ADA6-9B02-BEA16E3E3B57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EB9090C4-9FA5-AB1E-1962-BF022AC67E6E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A7DC5E42-5B1E-9A04-F9D0-89C6F53D8279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0" name="Straight Connector 579">
              <a:extLst>
                <a:ext uri="{FF2B5EF4-FFF2-40B4-BE49-F238E27FC236}">
                  <a16:creationId xmlns:a16="http://schemas.microsoft.com/office/drawing/2014/main" id="{048F7F9E-8A1E-6060-2317-2EEC3AA72D33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1" name="Straight Connector 580">
              <a:extLst>
                <a:ext uri="{FF2B5EF4-FFF2-40B4-BE49-F238E27FC236}">
                  <a16:creationId xmlns:a16="http://schemas.microsoft.com/office/drawing/2014/main" id="{B46B0057-F922-3010-085B-DD33BBCA160B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8FDFD816-2C93-7063-8D10-DF1602BCEA59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D4AD4558-CA13-F998-C692-CFA442B98CF3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EF5866EF-C47C-64B0-EF93-CD27EC61CE92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3A1DF5E2-1545-3752-0600-9F57DF24C442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A8813E6-4FFB-5BA0-5D87-EAB56660D152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ACEECC28-0027-CF92-5878-E95F5C531126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CAA365F0-E71C-6AC3-F1A8-D703D8ED2784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9" name="Straight Connector 588">
              <a:extLst>
                <a:ext uri="{FF2B5EF4-FFF2-40B4-BE49-F238E27FC236}">
                  <a16:creationId xmlns:a16="http://schemas.microsoft.com/office/drawing/2014/main" id="{53B3DCC7-EE6F-40AC-D98D-A51C8E0217B7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0" name="Straight Connector 589">
              <a:extLst>
                <a:ext uri="{FF2B5EF4-FFF2-40B4-BE49-F238E27FC236}">
                  <a16:creationId xmlns:a16="http://schemas.microsoft.com/office/drawing/2014/main" id="{1B780AD5-F3B4-F31D-71D6-2E7ACD15B884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9A8DFB9D-F39D-52EA-3CA5-F90754515AE0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2DC8CB96-FC71-067C-1772-D404679BE65B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4" name="Straight Connector 593">
              <a:extLst>
                <a:ext uri="{FF2B5EF4-FFF2-40B4-BE49-F238E27FC236}">
                  <a16:creationId xmlns:a16="http://schemas.microsoft.com/office/drawing/2014/main" id="{CE448E3B-686D-F2E7-BE93-1A348BAA56B2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02A84058-B93F-7838-ED54-63279616A24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8FD5D376-90F3-B3D0-734B-F29027A31096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7" name="Straight Connector 596">
              <a:extLst>
                <a:ext uri="{FF2B5EF4-FFF2-40B4-BE49-F238E27FC236}">
                  <a16:creationId xmlns:a16="http://schemas.microsoft.com/office/drawing/2014/main" id="{97E5D813-8AA6-6DA7-A49C-BE58F1B34337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8" name="Straight Connector 597">
              <a:extLst>
                <a:ext uri="{FF2B5EF4-FFF2-40B4-BE49-F238E27FC236}">
                  <a16:creationId xmlns:a16="http://schemas.microsoft.com/office/drawing/2014/main" id="{5D236085-90A1-DB70-640B-8E472222F4BA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>
              <a:extLst>
                <a:ext uri="{FF2B5EF4-FFF2-40B4-BE49-F238E27FC236}">
                  <a16:creationId xmlns:a16="http://schemas.microsoft.com/office/drawing/2014/main" id="{398FF3E4-1ED1-8D51-B1F2-66042B748C20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Connector 600">
              <a:extLst>
                <a:ext uri="{FF2B5EF4-FFF2-40B4-BE49-F238E27FC236}">
                  <a16:creationId xmlns:a16="http://schemas.microsoft.com/office/drawing/2014/main" id="{6095E940-A401-0721-34C9-8A40518FB516}"/>
                </a:ext>
              </a:extLst>
            </p:cNvPr>
            <p:cNvCxnSpPr/>
            <p:nvPr/>
          </p:nvCxnSpPr>
          <p:spPr>
            <a:xfrm>
              <a:off x="-152400" y="279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2" name="Straight Connector 601">
              <a:extLst>
                <a:ext uri="{FF2B5EF4-FFF2-40B4-BE49-F238E27FC236}">
                  <a16:creationId xmlns:a16="http://schemas.microsoft.com/office/drawing/2014/main" id="{6E0C91D8-2789-586B-850C-2B6AF75AB3F1}"/>
                </a:ext>
              </a:extLst>
            </p:cNvPr>
            <p:cNvCxnSpPr/>
            <p:nvPr/>
          </p:nvCxnSpPr>
          <p:spPr>
            <a:xfrm>
              <a:off x="-152400" y="78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3" name="Straight Connector 602">
              <a:extLst>
                <a:ext uri="{FF2B5EF4-FFF2-40B4-BE49-F238E27FC236}">
                  <a16:creationId xmlns:a16="http://schemas.microsoft.com/office/drawing/2014/main" id="{C65BC6F8-6D5E-878E-30A0-8BFB97EB3A35}"/>
                </a:ext>
              </a:extLst>
            </p:cNvPr>
            <p:cNvCxnSpPr/>
            <p:nvPr/>
          </p:nvCxnSpPr>
          <p:spPr>
            <a:xfrm>
              <a:off x="-152400" y="58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>
              <a:extLst>
                <a:ext uri="{FF2B5EF4-FFF2-40B4-BE49-F238E27FC236}">
                  <a16:creationId xmlns:a16="http://schemas.microsoft.com/office/drawing/2014/main" id="{7CD01F2C-CFA1-AF3A-E462-F3DFEB7BA6B5}"/>
                </a:ext>
              </a:extLst>
            </p:cNvPr>
            <p:cNvCxnSpPr/>
            <p:nvPr/>
          </p:nvCxnSpPr>
          <p:spPr>
            <a:xfrm>
              <a:off x="-2032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5" name="Straight Connector 604">
              <a:extLst>
                <a:ext uri="{FF2B5EF4-FFF2-40B4-BE49-F238E27FC236}">
                  <a16:creationId xmlns:a16="http://schemas.microsoft.com/office/drawing/2014/main" id="{6A28F8B8-71B2-2C78-10FE-14714828B9F8}"/>
                </a:ext>
              </a:extLst>
            </p:cNvPr>
            <p:cNvCxnSpPr/>
            <p:nvPr/>
          </p:nvCxnSpPr>
          <p:spPr>
            <a:xfrm>
              <a:off x="-152400" y="99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6" name="Straight Connector 605">
              <a:extLst>
                <a:ext uri="{FF2B5EF4-FFF2-40B4-BE49-F238E27FC236}">
                  <a16:creationId xmlns:a16="http://schemas.microsoft.com/office/drawing/2014/main" id="{0B0E6785-BFF6-C9ED-0DF6-4D1FC08D9759}"/>
                </a:ext>
              </a:extLst>
            </p:cNvPr>
            <p:cNvCxnSpPr/>
            <p:nvPr/>
          </p:nvCxnSpPr>
          <p:spPr>
            <a:xfrm>
              <a:off x="-152400" y="1193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7" name="Straight Connector 606">
              <a:extLst>
                <a:ext uri="{FF2B5EF4-FFF2-40B4-BE49-F238E27FC236}">
                  <a16:creationId xmlns:a16="http://schemas.microsoft.com/office/drawing/2014/main" id="{2357CEA0-6726-6883-57BD-F7A9866DE9D6}"/>
                </a:ext>
              </a:extLst>
            </p:cNvPr>
            <p:cNvCxnSpPr/>
            <p:nvPr/>
          </p:nvCxnSpPr>
          <p:spPr>
            <a:xfrm>
              <a:off x="-2032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8" name="Straight Connector 607">
              <a:extLst>
                <a:ext uri="{FF2B5EF4-FFF2-40B4-BE49-F238E27FC236}">
                  <a16:creationId xmlns:a16="http://schemas.microsoft.com/office/drawing/2014/main" id="{53A14786-7EC7-851B-C041-476BECB84CCF}"/>
                </a:ext>
              </a:extLst>
            </p:cNvPr>
            <p:cNvCxnSpPr/>
            <p:nvPr/>
          </p:nvCxnSpPr>
          <p:spPr>
            <a:xfrm>
              <a:off x="-2032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>
              <a:extLst>
                <a:ext uri="{FF2B5EF4-FFF2-40B4-BE49-F238E27FC236}">
                  <a16:creationId xmlns:a16="http://schemas.microsoft.com/office/drawing/2014/main" id="{C0C88909-E77C-DBD7-A2B9-028D5D0044E7}"/>
                </a:ext>
              </a:extLst>
            </p:cNvPr>
            <p:cNvCxnSpPr/>
            <p:nvPr/>
          </p:nvCxnSpPr>
          <p:spPr>
            <a:xfrm>
              <a:off x="-152400" y="1803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0" name="Straight Connector 609">
              <a:extLst>
                <a:ext uri="{FF2B5EF4-FFF2-40B4-BE49-F238E27FC236}">
                  <a16:creationId xmlns:a16="http://schemas.microsoft.com/office/drawing/2014/main" id="{BCAB399B-CF8A-776E-E826-738F3118AE13}"/>
                </a:ext>
              </a:extLst>
            </p:cNvPr>
            <p:cNvCxnSpPr/>
            <p:nvPr/>
          </p:nvCxnSpPr>
          <p:spPr>
            <a:xfrm>
              <a:off x="-152400" y="2006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1" name="Straight Connector 610">
              <a:extLst>
                <a:ext uri="{FF2B5EF4-FFF2-40B4-BE49-F238E27FC236}">
                  <a16:creationId xmlns:a16="http://schemas.microsoft.com/office/drawing/2014/main" id="{868DC6BD-9FBB-1286-9464-F8F2D67D59FC}"/>
                </a:ext>
              </a:extLst>
            </p:cNvPr>
            <p:cNvCxnSpPr/>
            <p:nvPr/>
          </p:nvCxnSpPr>
          <p:spPr>
            <a:xfrm>
              <a:off x="-152400" y="2209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2" name="Straight Connector 611">
              <a:extLst>
                <a:ext uri="{FF2B5EF4-FFF2-40B4-BE49-F238E27FC236}">
                  <a16:creationId xmlns:a16="http://schemas.microsoft.com/office/drawing/2014/main" id="{1E25D695-C1C9-EEEC-CDA3-44D6E5F34E77}"/>
                </a:ext>
              </a:extLst>
            </p:cNvPr>
            <p:cNvCxnSpPr/>
            <p:nvPr/>
          </p:nvCxnSpPr>
          <p:spPr>
            <a:xfrm>
              <a:off x="-152400" y="2413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3" name="Straight Connector 612">
              <a:extLst>
                <a:ext uri="{FF2B5EF4-FFF2-40B4-BE49-F238E27FC236}">
                  <a16:creationId xmlns:a16="http://schemas.microsoft.com/office/drawing/2014/main" id="{D2AA6A8C-8B7C-BEC1-612C-95079A552131}"/>
                </a:ext>
              </a:extLst>
            </p:cNvPr>
            <p:cNvCxnSpPr/>
            <p:nvPr/>
          </p:nvCxnSpPr>
          <p:spPr>
            <a:xfrm>
              <a:off x="-203200" y="2616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4" name="Straight Connector 613">
              <a:extLst>
                <a:ext uri="{FF2B5EF4-FFF2-40B4-BE49-F238E27FC236}">
                  <a16:creationId xmlns:a16="http://schemas.microsoft.com/office/drawing/2014/main" id="{7926D3C4-502F-6EB2-103F-7BB89C56D324}"/>
                </a:ext>
              </a:extLst>
            </p:cNvPr>
            <p:cNvCxnSpPr/>
            <p:nvPr/>
          </p:nvCxnSpPr>
          <p:spPr>
            <a:xfrm>
              <a:off x="-203200" y="2819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>
              <a:extLst>
                <a:ext uri="{FF2B5EF4-FFF2-40B4-BE49-F238E27FC236}">
                  <a16:creationId xmlns:a16="http://schemas.microsoft.com/office/drawing/2014/main" id="{03F5467B-FE3D-54F0-2824-E3089A1941E5}"/>
                </a:ext>
              </a:extLst>
            </p:cNvPr>
            <p:cNvCxnSpPr/>
            <p:nvPr/>
          </p:nvCxnSpPr>
          <p:spPr>
            <a:xfrm>
              <a:off x="-254000" y="30226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6" name="Straight Connector 615">
              <a:extLst>
                <a:ext uri="{FF2B5EF4-FFF2-40B4-BE49-F238E27FC236}">
                  <a16:creationId xmlns:a16="http://schemas.microsoft.com/office/drawing/2014/main" id="{C9639B25-595E-6A2F-66DE-AAEE14F51126}"/>
                </a:ext>
              </a:extLst>
            </p:cNvPr>
            <p:cNvCxnSpPr/>
            <p:nvPr/>
          </p:nvCxnSpPr>
          <p:spPr>
            <a:xfrm>
              <a:off x="-254000" y="32258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8E825E18-1B62-5390-7448-2A1060D38A41}"/>
                </a:ext>
              </a:extLst>
            </p:cNvPr>
            <p:cNvCxnSpPr/>
            <p:nvPr/>
          </p:nvCxnSpPr>
          <p:spPr>
            <a:xfrm>
              <a:off x="-152400" y="3429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C47ACFEC-CFA8-DCC6-1DBA-0B99F8F7F19B}"/>
                </a:ext>
              </a:extLst>
            </p:cNvPr>
            <p:cNvCxnSpPr/>
            <p:nvPr/>
          </p:nvCxnSpPr>
          <p:spPr>
            <a:xfrm>
              <a:off x="-152400" y="3632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EFE363C0-E0EE-758A-D7D7-44C3A27B037B}"/>
                </a:ext>
              </a:extLst>
            </p:cNvPr>
            <p:cNvCxnSpPr/>
            <p:nvPr/>
          </p:nvCxnSpPr>
          <p:spPr>
            <a:xfrm>
              <a:off x="-2032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1256F036-4A4D-1E9E-1A5F-DCC19044319F}"/>
                </a:ext>
              </a:extLst>
            </p:cNvPr>
            <p:cNvCxnSpPr/>
            <p:nvPr/>
          </p:nvCxnSpPr>
          <p:spPr>
            <a:xfrm>
              <a:off x="-2032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C3686432-DD24-E167-2715-EC8E69A77B28}"/>
                </a:ext>
              </a:extLst>
            </p:cNvPr>
            <p:cNvCxnSpPr/>
            <p:nvPr/>
          </p:nvCxnSpPr>
          <p:spPr>
            <a:xfrm>
              <a:off x="-152400" y="424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2" name="Straight Connector 621">
              <a:extLst>
                <a:ext uri="{FF2B5EF4-FFF2-40B4-BE49-F238E27FC236}">
                  <a16:creationId xmlns:a16="http://schemas.microsoft.com/office/drawing/2014/main" id="{0E0CAE4F-0E99-E72E-1016-56A9182C682B}"/>
                </a:ext>
              </a:extLst>
            </p:cNvPr>
            <p:cNvCxnSpPr/>
            <p:nvPr/>
          </p:nvCxnSpPr>
          <p:spPr>
            <a:xfrm>
              <a:off x="-152400" y="4445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3" name="Straight Connector 622">
              <a:extLst>
                <a:ext uri="{FF2B5EF4-FFF2-40B4-BE49-F238E27FC236}">
                  <a16:creationId xmlns:a16="http://schemas.microsoft.com/office/drawing/2014/main" id="{53336AC3-6DDB-86F9-9A7D-257ACB7989DC}"/>
                </a:ext>
              </a:extLst>
            </p:cNvPr>
            <p:cNvCxnSpPr/>
            <p:nvPr/>
          </p:nvCxnSpPr>
          <p:spPr>
            <a:xfrm>
              <a:off x="-254000" y="46482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CCB74389-CC92-2002-D402-1DBBBED7A822}"/>
                </a:ext>
              </a:extLst>
            </p:cNvPr>
            <p:cNvCxnSpPr/>
            <p:nvPr/>
          </p:nvCxnSpPr>
          <p:spPr>
            <a:xfrm>
              <a:off x="-254000" y="48514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9BBA4A47-0FBB-01B7-12C2-8E1753941A49}"/>
                </a:ext>
              </a:extLst>
            </p:cNvPr>
            <p:cNvCxnSpPr/>
            <p:nvPr/>
          </p:nvCxnSpPr>
          <p:spPr>
            <a:xfrm>
              <a:off x="-203200" y="5054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D004C5B6-F03D-5DE8-E68F-3AE4F793E861}"/>
                </a:ext>
              </a:extLst>
            </p:cNvPr>
            <p:cNvCxnSpPr/>
            <p:nvPr/>
          </p:nvCxnSpPr>
          <p:spPr>
            <a:xfrm>
              <a:off x="-203200" y="5257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09051E2F-A7DB-6C7D-0E17-A29B16B9BB68}"/>
                </a:ext>
              </a:extLst>
            </p:cNvPr>
            <p:cNvCxnSpPr/>
            <p:nvPr/>
          </p:nvCxnSpPr>
          <p:spPr>
            <a:xfrm>
              <a:off x="-152400" y="5461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D8ABCA41-6CE5-722F-3067-3FA5B8D5156F}"/>
                </a:ext>
              </a:extLst>
            </p:cNvPr>
            <p:cNvCxnSpPr/>
            <p:nvPr/>
          </p:nvCxnSpPr>
          <p:spPr>
            <a:xfrm>
              <a:off x="-152400" y="566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C699AE77-E204-CCB9-6118-A68AC4B33AF0}"/>
                </a:ext>
              </a:extLst>
            </p:cNvPr>
            <p:cNvCxnSpPr/>
            <p:nvPr/>
          </p:nvCxnSpPr>
          <p:spPr>
            <a:xfrm>
              <a:off x="-152400" y="586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E943A7C8-4C94-7FCC-1742-27A7BF9F6FD5}"/>
                </a:ext>
              </a:extLst>
            </p:cNvPr>
            <p:cNvCxnSpPr/>
            <p:nvPr/>
          </p:nvCxnSpPr>
          <p:spPr>
            <a:xfrm>
              <a:off x="-152400" y="607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1" name="Straight Connector 630">
              <a:extLst>
                <a:ext uri="{FF2B5EF4-FFF2-40B4-BE49-F238E27FC236}">
                  <a16:creationId xmlns:a16="http://schemas.microsoft.com/office/drawing/2014/main" id="{50947452-EAD0-668A-3E77-1BFEF1BCD581}"/>
                </a:ext>
              </a:extLst>
            </p:cNvPr>
            <p:cNvCxnSpPr/>
            <p:nvPr/>
          </p:nvCxnSpPr>
          <p:spPr>
            <a:xfrm>
              <a:off x="-2032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2" name="Straight Connector 631">
              <a:extLst>
                <a:ext uri="{FF2B5EF4-FFF2-40B4-BE49-F238E27FC236}">
                  <a16:creationId xmlns:a16="http://schemas.microsoft.com/office/drawing/2014/main" id="{DD31B4FC-0FE7-431E-CE7F-ED39AD1508FB}"/>
                </a:ext>
              </a:extLst>
            </p:cNvPr>
            <p:cNvCxnSpPr/>
            <p:nvPr/>
          </p:nvCxnSpPr>
          <p:spPr>
            <a:xfrm>
              <a:off x="-152400" y="6324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37ADBB6-7460-DD0C-6040-C5E47275159B}"/>
                </a:ext>
              </a:extLst>
            </p:cNvPr>
            <p:cNvCxnSpPr/>
            <p:nvPr/>
          </p:nvCxnSpPr>
          <p:spPr>
            <a:xfrm>
              <a:off x="-152400" y="6527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CA595009-CD54-1B6B-8D9F-1DA04B8E7841}"/>
                </a:ext>
              </a:extLst>
            </p:cNvPr>
            <p:cNvCxnSpPr/>
            <p:nvPr/>
          </p:nvCxnSpPr>
          <p:spPr>
            <a:xfrm>
              <a:off x="-152400" y="6578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5" name="Straight Connector 634">
              <a:extLst>
                <a:ext uri="{FF2B5EF4-FFF2-40B4-BE49-F238E27FC236}">
                  <a16:creationId xmlns:a16="http://schemas.microsoft.com/office/drawing/2014/main" id="{2B179F18-9FE2-E498-58DC-9875FF47D48B}"/>
                </a:ext>
              </a:extLst>
            </p:cNvPr>
            <p:cNvCxnSpPr/>
            <p:nvPr/>
          </p:nvCxnSpPr>
          <p:spPr>
            <a:xfrm>
              <a:off x="-152400" y="678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4970919A-9CD5-C0CC-0267-42EC5559928D}"/>
                </a:ext>
              </a:extLst>
            </p:cNvPr>
            <p:cNvCxnSpPr/>
            <p:nvPr/>
          </p:nvCxnSpPr>
          <p:spPr>
            <a:xfrm>
              <a:off x="-3556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2B963BD9-92DF-FF13-F685-D4599E73BB97}"/>
                </a:ext>
              </a:extLst>
            </p:cNvPr>
            <p:cNvCxnSpPr/>
            <p:nvPr/>
          </p:nvCxnSpPr>
          <p:spPr>
            <a:xfrm>
              <a:off x="-3556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0" name="Straight Connector 639">
              <a:extLst>
                <a:ext uri="{FF2B5EF4-FFF2-40B4-BE49-F238E27FC236}">
                  <a16:creationId xmlns:a16="http://schemas.microsoft.com/office/drawing/2014/main" id="{1BC2CFB2-3A2B-4C75-4E77-438BCB0F3F8C}"/>
                </a:ext>
              </a:extLst>
            </p:cNvPr>
            <p:cNvCxnSpPr/>
            <p:nvPr/>
          </p:nvCxnSpPr>
          <p:spPr>
            <a:xfrm>
              <a:off x="-3556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Straight Connector 640">
              <a:extLst>
                <a:ext uri="{FF2B5EF4-FFF2-40B4-BE49-F238E27FC236}">
                  <a16:creationId xmlns:a16="http://schemas.microsoft.com/office/drawing/2014/main" id="{42772E8F-76CC-2C6C-3660-BF3ABB87B872}"/>
                </a:ext>
              </a:extLst>
            </p:cNvPr>
            <p:cNvCxnSpPr/>
            <p:nvPr/>
          </p:nvCxnSpPr>
          <p:spPr>
            <a:xfrm>
              <a:off x="-152400" y="76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2" name="Straight Connector 641">
              <a:extLst>
                <a:ext uri="{FF2B5EF4-FFF2-40B4-BE49-F238E27FC236}">
                  <a16:creationId xmlns:a16="http://schemas.microsoft.com/office/drawing/2014/main" id="{6E3632F8-F2E3-25C9-690B-C73DF4FA8534}"/>
                </a:ext>
              </a:extLst>
            </p:cNvPr>
            <p:cNvCxnSpPr/>
            <p:nvPr/>
          </p:nvCxnSpPr>
          <p:spPr>
            <a:xfrm>
              <a:off x="-3556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3" name="Straight Connector 642">
              <a:extLst>
                <a:ext uri="{FF2B5EF4-FFF2-40B4-BE49-F238E27FC236}">
                  <a16:creationId xmlns:a16="http://schemas.microsoft.com/office/drawing/2014/main" id="{A100E2E5-AD1D-B3D4-D7BD-BE18B05825D3}"/>
                </a:ext>
              </a:extLst>
            </p:cNvPr>
            <p:cNvCxnSpPr/>
            <p:nvPr/>
          </p:nvCxnSpPr>
          <p:spPr>
            <a:xfrm>
              <a:off x="-3556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4" name="Straight Connector 643">
              <a:extLst>
                <a:ext uri="{FF2B5EF4-FFF2-40B4-BE49-F238E27FC236}">
                  <a16:creationId xmlns:a16="http://schemas.microsoft.com/office/drawing/2014/main" id="{9515AD02-D8EC-1249-38CB-5BEF1ADA3C86}"/>
                </a:ext>
              </a:extLst>
            </p:cNvPr>
            <p:cNvCxnSpPr/>
            <p:nvPr/>
          </p:nvCxnSpPr>
          <p:spPr>
            <a:xfrm>
              <a:off x="-3556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5" name="Straight Connector 644">
              <a:extLst>
                <a:ext uri="{FF2B5EF4-FFF2-40B4-BE49-F238E27FC236}">
                  <a16:creationId xmlns:a16="http://schemas.microsoft.com/office/drawing/2014/main" id="{2EEECE57-6126-4DDB-25E2-A496262849CC}"/>
                </a:ext>
              </a:extLst>
            </p:cNvPr>
            <p:cNvCxnSpPr/>
            <p:nvPr/>
          </p:nvCxnSpPr>
          <p:spPr>
            <a:xfrm>
              <a:off x="-355600" y="3937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6" name="Straight Connector 645">
              <a:extLst>
                <a:ext uri="{FF2B5EF4-FFF2-40B4-BE49-F238E27FC236}">
                  <a16:creationId xmlns:a16="http://schemas.microsoft.com/office/drawing/2014/main" id="{A33CD08E-3D5F-E423-EA6C-41CDB09E4946}"/>
                </a:ext>
              </a:extLst>
            </p:cNvPr>
            <p:cNvCxnSpPr/>
            <p:nvPr/>
          </p:nvCxnSpPr>
          <p:spPr>
            <a:xfrm>
              <a:off x="-355600" y="889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8" name="Straight Connector 647">
              <a:extLst>
                <a:ext uri="{FF2B5EF4-FFF2-40B4-BE49-F238E27FC236}">
                  <a16:creationId xmlns:a16="http://schemas.microsoft.com/office/drawing/2014/main" id="{2F4A3ECA-2825-7826-2925-38F6857BBA9D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9" name="Straight Connector 648">
              <a:extLst>
                <a:ext uri="{FF2B5EF4-FFF2-40B4-BE49-F238E27FC236}">
                  <a16:creationId xmlns:a16="http://schemas.microsoft.com/office/drawing/2014/main" id="{FAA54607-9340-DF57-EEED-6A94B812CBD4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7" name="Grid Structure 4pt/8px" hidden="1">
            <a:extLst>
              <a:ext uri="{FF2B5EF4-FFF2-40B4-BE49-F238E27FC236}">
                <a16:creationId xmlns:a16="http://schemas.microsoft.com/office/drawing/2014/main" id="{17F06CAB-5E70-ED5E-6F69-21DB28F66836}"/>
              </a:ext>
            </a:extLst>
          </p:cNvPr>
          <p:cNvGrpSpPr/>
          <p:nvPr/>
        </p:nvGrpSpPr>
        <p:grpSpPr>
          <a:xfrm>
            <a:off x="203200" y="76200"/>
            <a:ext cx="11785600" cy="6705600"/>
            <a:chOff x="203200" y="76200"/>
            <a:chExt cx="11785600" cy="6705600"/>
          </a:xfrm>
        </p:grpSpPr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34D2403A-9E8C-5C39-9611-5C6026E28FE0}"/>
                </a:ext>
              </a:extLst>
            </p:cNvPr>
            <p:cNvCxnSpPr/>
            <p:nvPr/>
          </p:nvCxnSpPr>
          <p:spPr>
            <a:xfrm>
              <a:off x="203200" y="7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DB2C721B-E9C3-23FE-71DC-76B704DAC12B}"/>
                </a:ext>
              </a:extLst>
            </p:cNvPr>
            <p:cNvCxnSpPr/>
            <p:nvPr/>
          </p:nvCxnSpPr>
          <p:spPr>
            <a:xfrm>
              <a:off x="203200" y="27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973E380C-48CF-9EE2-F928-02CDC3F93EE7}"/>
                </a:ext>
              </a:extLst>
            </p:cNvPr>
            <p:cNvCxnSpPr/>
            <p:nvPr/>
          </p:nvCxnSpPr>
          <p:spPr>
            <a:xfrm>
              <a:off x="203200" y="38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Straight Connector 353">
              <a:extLst>
                <a:ext uri="{FF2B5EF4-FFF2-40B4-BE49-F238E27FC236}">
                  <a16:creationId xmlns:a16="http://schemas.microsoft.com/office/drawing/2014/main" id="{29DCF932-F4D4-35CD-05D5-670C57F85362}"/>
                </a:ext>
              </a:extLst>
            </p:cNvPr>
            <p:cNvCxnSpPr/>
            <p:nvPr/>
          </p:nvCxnSpPr>
          <p:spPr>
            <a:xfrm>
              <a:off x="203200" y="58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Straight Connector 354">
              <a:extLst>
                <a:ext uri="{FF2B5EF4-FFF2-40B4-BE49-F238E27FC236}">
                  <a16:creationId xmlns:a16="http://schemas.microsoft.com/office/drawing/2014/main" id="{FB2A616B-0A95-F02E-1394-F50ED1398D37}"/>
                </a:ext>
              </a:extLst>
            </p:cNvPr>
            <p:cNvCxnSpPr/>
            <p:nvPr/>
          </p:nvCxnSpPr>
          <p:spPr>
            <a:xfrm>
              <a:off x="203200" y="78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F9F49583-8544-EB28-23CE-B0CF778FF2BD}"/>
                </a:ext>
              </a:extLst>
            </p:cNvPr>
            <p:cNvCxnSpPr/>
            <p:nvPr/>
          </p:nvCxnSpPr>
          <p:spPr>
            <a:xfrm>
              <a:off x="203200" y="99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41439CB3-66B0-E8F9-2591-4F7439CF740A}"/>
                </a:ext>
              </a:extLst>
            </p:cNvPr>
            <p:cNvCxnSpPr/>
            <p:nvPr/>
          </p:nvCxnSpPr>
          <p:spPr>
            <a:xfrm>
              <a:off x="203200" y="119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DF61535-212C-C58C-8B29-40971B689923}"/>
                </a:ext>
              </a:extLst>
            </p:cNvPr>
            <p:cNvCxnSpPr/>
            <p:nvPr/>
          </p:nvCxnSpPr>
          <p:spPr>
            <a:xfrm>
              <a:off x="203200" y="1397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EF6A89FF-8A54-3A74-8A1B-B23FB10155FB}"/>
                </a:ext>
              </a:extLst>
            </p:cNvPr>
            <p:cNvCxnSpPr/>
            <p:nvPr/>
          </p:nvCxnSpPr>
          <p:spPr>
            <a:xfrm>
              <a:off x="203200" y="1600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27BBE4AB-FAD5-25D7-6297-9CF0776FBD98}"/>
                </a:ext>
              </a:extLst>
            </p:cNvPr>
            <p:cNvCxnSpPr/>
            <p:nvPr/>
          </p:nvCxnSpPr>
          <p:spPr>
            <a:xfrm>
              <a:off x="203200" y="1803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>
              <a:extLst>
                <a:ext uri="{FF2B5EF4-FFF2-40B4-BE49-F238E27FC236}">
                  <a16:creationId xmlns:a16="http://schemas.microsoft.com/office/drawing/2014/main" id="{792D44F9-651A-7FA3-BDA6-E43F0D8A9471}"/>
                </a:ext>
              </a:extLst>
            </p:cNvPr>
            <p:cNvCxnSpPr/>
            <p:nvPr/>
          </p:nvCxnSpPr>
          <p:spPr>
            <a:xfrm>
              <a:off x="203200" y="2006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60BA471E-F499-8522-CD48-AFA1D4E83673}"/>
                </a:ext>
              </a:extLst>
            </p:cNvPr>
            <p:cNvCxnSpPr/>
            <p:nvPr/>
          </p:nvCxnSpPr>
          <p:spPr>
            <a:xfrm>
              <a:off x="203200" y="2209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D789B9C6-F8F0-DEFD-64EB-74D0D6BAF9E6}"/>
                </a:ext>
              </a:extLst>
            </p:cNvPr>
            <p:cNvCxnSpPr/>
            <p:nvPr/>
          </p:nvCxnSpPr>
          <p:spPr>
            <a:xfrm>
              <a:off x="203200" y="2413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Straight Connector 366">
              <a:extLst>
                <a:ext uri="{FF2B5EF4-FFF2-40B4-BE49-F238E27FC236}">
                  <a16:creationId xmlns:a16="http://schemas.microsoft.com/office/drawing/2014/main" id="{9325D9C7-1B5D-D0E6-DF87-C4C8303C6328}"/>
                </a:ext>
              </a:extLst>
            </p:cNvPr>
            <p:cNvCxnSpPr/>
            <p:nvPr/>
          </p:nvCxnSpPr>
          <p:spPr>
            <a:xfrm>
              <a:off x="203200" y="261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Straight Connector 367">
              <a:extLst>
                <a:ext uri="{FF2B5EF4-FFF2-40B4-BE49-F238E27FC236}">
                  <a16:creationId xmlns:a16="http://schemas.microsoft.com/office/drawing/2014/main" id="{6F084FA9-52CB-AD53-5B86-1F0C239A027A}"/>
                </a:ext>
              </a:extLst>
            </p:cNvPr>
            <p:cNvCxnSpPr/>
            <p:nvPr/>
          </p:nvCxnSpPr>
          <p:spPr>
            <a:xfrm>
              <a:off x="203200" y="281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78F30CD4-E679-DC02-8845-4673D27994CC}"/>
                </a:ext>
              </a:extLst>
            </p:cNvPr>
            <p:cNvCxnSpPr/>
            <p:nvPr/>
          </p:nvCxnSpPr>
          <p:spPr>
            <a:xfrm>
              <a:off x="203200" y="3022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2822B735-342B-6378-47A1-E6BF0984D43E}"/>
                </a:ext>
              </a:extLst>
            </p:cNvPr>
            <p:cNvCxnSpPr/>
            <p:nvPr/>
          </p:nvCxnSpPr>
          <p:spPr>
            <a:xfrm>
              <a:off x="203200" y="3225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047EFC56-4DF0-98C3-DBAE-E795B1347AEB}"/>
                </a:ext>
              </a:extLst>
            </p:cNvPr>
            <p:cNvCxnSpPr/>
            <p:nvPr/>
          </p:nvCxnSpPr>
          <p:spPr>
            <a:xfrm>
              <a:off x="203200" y="3429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Straight Connector 372">
              <a:extLst>
                <a:ext uri="{FF2B5EF4-FFF2-40B4-BE49-F238E27FC236}">
                  <a16:creationId xmlns:a16="http://schemas.microsoft.com/office/drawing/2014/main" id="{22DA30F6-A256-98B0-1B9C-CF0C6DC2BFBA}"/>
                </a:ext>
              </a:extLst>
            </p:cNvPr>
            <p:cNvCxnSpPr/>
            <p:nvPr/>
          </p:nvCxnSpPr>
          <p:spPr>
            <a:xfrm>
              <a:off x="203200" y="3632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>
              <a:extLst>
                <a:ext uri="{FF2B5EF4-FFF2-40B4-BE49-F238E27FC236}">
                  <a16:creationId xmlns:a16="http://schemas.microsoft.com/office/drawing/2014/main" id="{769C8018-70D7-6528-AD45-C9684836981D}"/>
                </a:ext>
              </a:extLst>
            </p:cNvPr>
            <p:cNvCxnSpPr/>
            <p:nvPr/>
          </p:nvCxnSpPr>
          <p:spPr>
            <a:xfrm>
              <a:off x="203200" y="3835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>
              <a:extLst>
                <a:ext uri="{FF2B5EF4-FFF2-40B4-BE49-F238E27FC236}">
                  <a16:creationId xmlns:a16="http://schemas.microsoft.com/office/drawing/2014/main" id="{22B97A86-4C6E-D712-EA4E-0C883F81556E}"/>
                </a:ext>
              </a:extLst>
            </p:cNvPr>
            <p:cNvCxnSpPr/>
            <p:nvPr/>
          </p:nvCxnSpPr>
          <p:spPr>
            <a:xfrm>
              <a:off x="203200" y="403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9AB33D42-8F07-D766-B1B1-ED59E94B8B39}"/>
                </a:ext>
              </a:extLst>
            </p:cNvPr>
            <p:cNvCxnSpPr/>
            <p:nvPr/>
          </p:nvCxnSpPr>
          <p:spPr>
            <a:xfrm>
              <a:off x="203200" y="424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33B8ADB1-5989-ECCE-B214-C609E488B875}"/>
                </a:ext>
              </a:extLst>
            </p:cNvPr>
            <p:cNvCxnSpPr/>
            <p:nvPr/>
          </p:nvCxnSpPr>
          <p:spPr>
            <a:xfrm>
              <a:off x="203200" y="4445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73647A78-2465-BE80-4CB2-11438AD4FED6}"/>
                </a:ext>
              </a:extLst>
            </p:cNvPr>
            <p:cNvCxnSpPr/>
            <p:nvPr/>
          </p:nvCxnSpPr>
          <p:spPr>
            <a:xfrm>
              <a:off x="203200" y="4648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Straight Connector 378">
              <a:extLst>
                <a:ext uri="{FF2B5EF4-FFF2-40B4-BE49-F238E27FC236}">
                  <a16:creationId xmlns:a16="http://schemas.microsoft.com/office/drawing/2014/main" id="{A2477A41-ADB5-CED9-4A7B-D346C6AD359D}"/>
                </a:ext>
              </a:extLst>
            </p:cNvPr>
            <p:cNvCxnSpPr/>
            <p:nvPr/>
          </p:nvCxnSpPr>
          <p:spPr>
            <a:xfrm>
              <a:off x="203200" y="4851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242F2E7F-9FD7-109D-37C7-F851609A5320}"/>
                </a:ext>
              </a:extLst>
            </p:cNvPr>
            <p:cNvCxnSpPr/>
            <p:nvPr/>
          </p:nvCxnSpPr>
          <p:spPr>
            <a:xfrm>
              <a:off x="203200" y="505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3F6DC466-B938-9EDF-E341-74FA121D5179}"/>
                </a:ext>
              </a:extLst>
            </p:cNvPr>
            <p:cNvCxnSpPr/>
            <p:nvPr/>
          </p:nvCxnSpPr>
          <p:spPr>
            <a:xfrm>
              <a:off x="203200" y="525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>
              <a:extLst>
                <a:ext uri="{FF2B5EF4-FFF2-40B4-BE49-F238E27FC236}">
                  <a16:creationId xmlns:a16="http://schemas.microsoft.com/office/drawing/2014/main" id="{2673C885-1424-6CBF-6BD6-6CAC4F06E93B}"/>
                </a:ext>
              </a:extLst>
            </p:cNvPr>
            <p:cNvCxnSpPr/>
            <p:nvPr/>
          </p:nvCxnSpPr>
          <p:spPr>
            <a:xfrm>
              <a:off x="203200" y="546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ABBDB58E-425F-B64B-DC02-69BAAD5537FA}"/>
                </a:ext>
              </a:extLst>
            </p:cNvPr>
            <p:cNvCxnSpPr/>
            <p:nvPr/>
          </p:nvCxnSpPr>
          <p:spPr>
            <a:xfrm>
              <a:off x="203200" y="566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FBC55815-9925-C582-5129-ADDA959FF884}"/>
                </a:ext>
              </a:extLst>
            </p:cNvPr>
            <p:cNvCxnSpPr/>
            <p:nvPr/>
          </p:nvCxnSpPr>
          <p:spPr>
            <a:xfrm>
              <a:off x="203200" y="586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Straight Connector 414">
              <a:extLst>
                <a:ext uri="{FF2B5EF4-FFF2-40B4-BE49-F238E27FC236}">
                  <a16:creationId xmlns:a16="http://schemas.microsoft.com/office/drawing/2014/main" id="{1FFA8E8D-9DDC-4AE6-3E6E-E068D354B41A}"/>
                </a:ext>
              </a:extLst>
            </p:cNvPr>
            <p:cNvCxnSpPr/>
            <p:nvPr/>
          </p:nvCxnSpPr>
          <p:spPr>
            <a:xfrm>
              <a:off x="203200" y="607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Straight Connector 432">
              <a:extLst>
                <a:ext uri="{FF2B5EF4-FFF2-40B4-BE49-F238E27FC236}">
                  <a16:creationId xmlns:a16="http://schemas.microsoft.com/office/drawing/2014/main" id="{6C6198D9-BB30-B546-0FD7-708F6CFD4E05}"/>
                </a:ext>
              </a:extLst>
            </p:cNvPr>
            <p:cNvCxnSpPr/>
            <p:nvPr/>
          </p:nvCxnSpPr>
          <p:spPr>
            <a:xfrm>
              <a:off x="203200" y="627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Straight Connector 433">
              <a:extLst>
                <a:ext uri="{FF2B5EF4-FFF2-40B4-BE49-F238E27FC236}">
                  <a16:creationId xmlns:a16="http://schemas.microsoft.com/office/drawing/2014/main" id="{83AC2CC8-37DD-6D32-0FC0-7E8185FF308E}"/>
                </a:ext>
              </a:extLst>
            </p:cNvPr>
            <p:cNvCxnSpPr/>
            <p:nvPr/>
          </p:nvCxnSpPr>
          <p:spPr>
            <a:xfrm>
              <a:off x="203200" y="632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C76C1BBB-1155-6BCB-A830-6FC97BF80614}"/>
                </a:ext>
              </a:extLst>
            </p:cNvPr>
            <p:cNvCxnSpPr/>
            <p:nvPr/>
          </p:nvCxnSpPr>
          <p:spPr>
            <a:xfrm>
              <a:off x="203200" y="652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D7FF3F20-114F-31D4-0B8D-6A8C8084C69B}"/>
                </a:ext>
              </a:extLst>
            </p:cNvPr>
            <p:cNvCxnSpPr/>
            <p:nvPr/>
          </p:nvCxnSpPr>
          <p:spPr>
            <a:xfrm>
              <a:off x="203200" y="657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3C119390-FC50-2B5E-E8CC-904165BC0158}"/>
                </a:ext>
              </a:extLst>
            </p:cNvPr>
            <p:cNvCxnSpPr/>
            <p:nvPr/>
          </p:nvCxnSpPr>
          <p:spPr>
            <a:xfrm>
              <a:off x="203200" y="678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F1FD15E1-63FC-CDC5-3B2D-4779E73850D6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6D4C5821-B091-7194-C6C7-7C279C06B58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FBE23AC3-99BE-3FF2-67F3-681E6E54976F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B92814F5-800B-7D26-DC1A-128AB3465438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3094ABCC-D198-1C19-F99C-A49242D8E61D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3" name="Straight Connector 482">
              <a:extLst>
                <a:ext uri="{FF2B5EF4-FFF2-40B4-BE49-F238E27FC236}">
                  <a16:creationId xmlns:a16="http://schemas.microsoft.com/office/drawing/2014/main" id="{4594A92A-CFD7-9B15-3E05-F6D3FC1329D2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4" name="Straight Connector 483">
              <a:extLst>
                <a:ext uri="{FF2B5EF4-FFF2-40B4-BE49-F238E27FC236}">
                  <a16:creationId xmlns:a16="http://schemas.microsoft.com/office/drawing/2014/main" id="{699B5588-6A21-A6DC-5265-2F6A694EA99E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15C6FF81-886C-85A3-74F3-FEA2D65411D9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14435E9C-200D-C9D5-1C3E-84D7842FD739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08C70336-CFF1-73E3-CC20-FF0B5F4F1B08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990A9784-2128-3739-6828-0464B87B24B5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7F6BBCAE-59FA-C39F-D856-F6C1B99357BD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7AE90AF-F2B3-2D98-9573-69E42B4F1180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DD87DF0D-4B14-EAC2-7B33-EE2A7BBD2540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2" name="Straight Connector 491">
              <a:extLst>
                <a:ext uri="{FF2B5EF4-FFF2-40B4-BE49-F238E27FC236}">
                  <a16:creationId xmlns:a16="http://schemas.microsoft.com/office/drawing/2014/main" id="{1C50DBD5-B054-E2EF-8BD4-151AB42071B8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3" name="Straight Connector 492">
              <a:extLst>
                <a:ext uri="{FF2B5EF4-FFF2-40B4-BE49-F238E27FC236}">
                  <a16:creationId xmlns:a16="http://schemas.microsoft.com/office/drawing/2014/main" id="{4E2CDB4B-50EF-38DF-F894-51B55B06814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C2B26D99-A049-647A-1B17-8A034D6FE107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0ADE33D8-68EC-0B06-EF7C-DDDEBFFCF026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6" name="Straight Connector 495">
              <a:extLst>
                <a:ext uri="{FF2B5EF4-FFF2-40B4-BE49-F238E27FC236}">
                  <a16:creationId xmlns:a16="http://schemas.microsoft.com/office/drawing/2014/main" id="{8C975F1D-58DB-1F73-820F-063341C8B3A4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7" name="Straight Connector 496">
              <a:extLst>
                <a:ext uri="{FF2B5EF4-FFF2-40B4-BE49-F238E27FC236}">
                  <a16:creationId xmlns:a16="http://schemas.microsoft.com/office/drawing/2014/main" id="{A1720D14-CD68-4EF7-8D92-430AFCF6E707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B3377738-122A-6110-7977-82DEC19ECB3F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F8B67FA9-22C4-3435-7DBA-841F642507D1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0" name="Straight Connector 499">
              <a:extLst>
                <a:ext uri="{FF2B5EF4-FFF2-40B4-BE49-F238E27FC236}">
                  <a16:creationId xmlns:a16="http://schemas.microsoft.com/office/drawing/2014/main" id="{AA91DADF-F35A-8A55-9981-16E8F7F5B810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1" name="Straight Connector 500">
              <a:extLst>
                <a:ext uri="{FF2B5EF4-FFF2-40B4-BE49-F238E27FC236}">
                  <a16:creationId xmlns:a16="http://schemas.microsoft.com/office/drawing/2014/main" id="{143CF3EC-1756-8096-44F1-4764812323DA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2" name="Straight Connector 501">
              <a:extLst>
                <a:ext uri="{FF2B5EF4-FFF2-40B4-BE49-F238E27FC236}">
                  <a16:creationId xmlns:a16="http://schemas.microsoft.com/office/drawing/2014/main" id="{759E4C6F-BE3A-7877-DAD8-5A486EFDE192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3" name="Straight Connector 502">
              <a:extLst>
                <a:ext uri="{FF2B5EF4-FFF2-40B4-BE49-F238E27FC236}">
                  <a16:creationId xmlns:a16="http://schemas.microsoft.com/office/drawing/2014/main" id="{9AF57447-A323-C2EB-F5B2-D550B7A461A7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4" name="Straight Connector 503">
              <a:extLst>
                <a:ext uri="{FF2B5EF4-FFF2-40B4-BE49-F238E27FC236}">
                  <a16:creationId xmlns:a16="http://schemas.microsoft.com/office/drawing/2014/main" id="{0E5BD1EB-7705-B5A1-1493-C52EA398107A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5" name="Straight Connector 504">
              <a:extLst>
                <a:ext uri="{FF2B5EF4-FFF2-40B4-BE49-F238E27FC236}">
                  <a16:creationId xmlns:a16="http://schemas.microsoft.com/office/drawing/2014/main" id="{A8AA8222-A9C9-71B0-8874-95D6EDADCD98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6" name="Straight Connector 505">
              <a:extLst>
                <a:ext uri="{FF2B5EF4-FFF2-40B4-BE49-F238E27FC236}">
                  <a16:creationId xmlns:a16="http://schemas.microsoft.com/office/drawing/2014/main" id="{073D880D-CD09-CBB4-16BA-2A8E87CD9D84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7" name="Straight Connector 506">
              <a:extLst>
                <a:ext uri="{FF2B5EF4-FFF2-40B4-BE49-F238E27FC236}">
                  <a16:creationId xmlns:a16="http://schemas.microsoft.com/office/drawing/2014/main" id="{812866F3-44A8-3CEA-28D9-7AF496C04A2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8" name="Straight Connector 507">
              <a:extLst>
                <a:ext uri="{FF2B5EF4-FFF2-40B4-BE49-F238E27FC236}">
                  <a16:creationId xmlns:a16="http://schemas.microsoft.com/office/drawing/2014/main" id="{F419295E-CDDB-9E97-8F28-F903EFD03208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9" name="Straight Connector 508">
              <a:extLst>
                <a:ext uri="{FF2B5EF4-FFF2-40B4-BE49-F238E27FC236}">
                  <a16:creationId xmlns:a16="http://schemas.microsoft.com/office/drawing/2014/main" id="{54B7287C-0431-4B10-1E6B-22F8C128B338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Straight Connector 509">
              <a:extLst>
                <a:ext uri="{FF2B5EF4-FFF2-40B4-BE49-F238E27FC236}">
                  <a16:creationId xmlns:a16="http://schemas.microsoft.com/office/drawing/2014/main" id="{3FE9B0CE-F112-12DC-9291-B7C599F9031F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1" name="Straight Connector 510">
              <a:extLst>
                <a:ext uri="{FF2B5EF4-FFF2-40B4-BE49-F238E27FC236}">
                  <a16:creationId xmlns:a16="http://schemas.microsoft.com/office/drawing/2014/main" id="{AC7A6729-E1FF-ADA9-5404-512BB85173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Straight Connector 511">
              <a:extLst>
                <a:ext uri="{FF2B5EF4-FFF2-40B4-BE49-F238E27FC236}">
                  <a16:creationId xmlns:a16="http://schemas.microsoft.com/office/drawing/2014/main" id="{2E124A38-8DB4-882E-F91D-8E5F0F19E790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3" name="Straight Connector 512">
              <a:extLst>
                <a:ext uri="{FF2B5EF4-FFF2-40B4-BE49-F238E27FC236}">
                  <a16:creationId xmlns:a16="http://schemas.microsoft.com/office/drawing/2014/main" id="{387D883A-C569-9048-1102-2A4481F19B3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Straight Connector 513">
              <a:extLst>
                <a:ext uri="{FF2B5EF4-FFF2-40B4-BE49-F238E27FC236}">
                  <a16:creationId xmlns:a16="http://schemas.microsoft.com/office/drawing/2014/main" id="{64162DA4-1950-A179-F2ED-B50E9BA48A08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5" name="Straight Connector 514">
              <a:extLst>
                <a:ext uri="{FF2B5EF4-FFF2-40B4-BE49-F238E27FC236}">
                  <a16:creationId xmlns:a16="http://schemas.microsoft.com/office/drawing/2014/main" id="{7C8E0EA5-3EEA-1117-A686-2B01DA6D3C17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6" name="Straight Connector 515">
              <a:extLst>
                <a:ext uri="{FF2B5EF4-FFF2-40B4-BE49-F238E27FC236}">
                  <a16:creationId xmlns:a16="http://schemas.microsoft.com/office/drawing/2014/main" id="{57F3E21D-0683-5C73-B975-533264440FC3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7" name="Straight Connector 516">
              <a:extLst>
                <a:ext uri="{FF2B5EF4-FFF2-40B4-BE49-F238E27FC236}">
                  <a16:creationId xmlns:a16="http://schemas.microsoft.com/office/drawing/2014/main" id="{92F73360-9F43-3272-F218-F6DD824E0191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8" name="Straight Connector 517">
              <a:extLst>
                <a:ext uri="{FF2B5EF4-FFF2-40B4-BE49-F238E27FC236}">
                  <a16:creationId xmlns:a16="http://schemas.microsoft.com/office/drawing/2014/main" id="{0815A90B-9FFC-73FD-6C29-20CCE6A75CCC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9" name="Straight Connector 518">
              <a:extLst>
                <a:ext uri="{FF2B5EF4-FFF2-40B4-BE49-F238E27FC236}">
                  <a16:creationId xmlns:a16="http://schemas.microsoft.com/office/drawing/2014/main" id="{B9889978-8E24-F29B-3969-0C902E4E8981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0" name="Straight Connector 519">
              <a:extLst>
                <a:ext uri="{FF2B5EF4-FFF2-40B4-BE49-F238E27FC236}">
                  <a16:creationId xmlns:a16="http://schemas.microsoft.com/office/drawing/2014/main" id="{2ACD9AF2-6775-D81E-67C6-3FAE3A84D2F0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1" name="Straight Connector 520">
              <a:extLst>
                <a:ext uri="{FF2B5EF4-FFF2-40B4-BE49-F238E27FC236}">
                  <a16:creationId xmlns:a16="http://schemas.microsoft.com/office/drawing/2014/main" id="{A24E4C60-5323-F4AE-D168-9648B906A0FE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2" name="Straight Connector 521">
              <a:extLst>
                <a:ext uri="{FF2B5EF4-FFF2-40B4-BE49-F238E27FC236}">
                  <a16:creationId xmlns:a16="http://schemas.microsoft.com/office/drawing/2014/main" id="{E50AB0FC-534C-D3DB-E0BD-D115C26EAEF6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3" name="Straight Connector 522">
              <a:extLst>
                <a:ext uri="{FF2B5EF4-FFF2-40B4-BE49-F238E27FC236}">
                  <a16:creationId xmlns:a16="http://schemas.microsoft.com/office/drawing/2014/main" id="{F52C71A5-BAD9-6299-F2CC-A3092D8AF72C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4" name="Straight Connector 523">
              <a:extLst>
                <a:ext uri="{FF2B5EF4-FFF2-40B4-BE49-F238E27FC236}">
                  <a16:creationId xmlns:a16="http://schemas.microsoft.com/office/drawing/2014/main" id="{958DA808-DB1C-A5DF-786E-35DA879E01B2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5" name="Straight Connector 524">
              <a:extLst>
                <a:ext uri="{FF2B5EF4-FFF2-40B4-BE49-F238E27FC236}">
                  <a16:creationId xmlns:a16="http://schemas.microsoft.com/office/drawing/2014/main" id="{0D2A8C18-9FE8-4DB1-5D24-938D1CBE0532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6" name="Straight Connector 525">
              <a:extLst>
                <a:ext uri="{FF2B5EF4-FFF2-40B4-BE49-F238E27FC236}">
                  <a16:creationId xmlns:a16="http://schemas.microsoft.com/office/drawing/2014/main" id="{81FE3DA7-A8A6-A2AA-0244-F8D144F2DFE4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7" name="Straight Connector 526">
              <a:extLst>
                <a:ext uri="{FF2B5EF4-FFF2-40B4-BE49-F238E27FC236}">
                  <a16:creationId xmlns:a16="http://schemas.microsoft.com/office/drawing/2014/main" id="{7A0DDFF9-3FDE-2371-6A58-6817E418C63E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8" name="Straight Connector 527">
              <a:extLst>
                <a:ext uri="{FF2B5EF4-FFF2-40B4-BE49-F238E27FC236}">
                  <a16:creationId xmlns:a16="http://schemas.microsoft.com/office/drawing/2014/main" id="{1056F508-FEDC-9851-D9E6-680BFAE34424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9" name="Straight Connector 528">
              <a:extLst>
                <a:ext uri="{FF2B5EF4-FFF2-40B4-BE49-F238E27FC236}">
                  <a16:creationId xmlns:a16="http://schemas.microsoft.com/office/drawing/2014/main" id="{EA7FC7C6-6083-F3E9-DA92-FD5975FDE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0" name="Straight Connector 529">
              <a:extLst>
                <a:ext uri="{FF2B5EF4-FFF2-40B4-BE49-F238E27FC236}">
                  <a16:creationId xmlns:a16="http://schemas.microsoft.com/office/drawing/2014/main" id="{0938D311-D0F9-2FE8-416D-8A0E4AEE5202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1" name="Straight Connector 530">
              <a:extLst>
                <a:ext uri="{FF2B5EF4-FFF2-40B4-BE49-F238E27FC236}">
                  <a16:creationId xmlns:a16="http://schemas.microsoft.com/office/drawing/2014/main" id="{89DC6F78-7566-B6EC-D723-6968A570FA85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2" name="Straight Connector 531">
              <a:extLst>
                <a:ext uri="{FF2B5EF4-FFF2-40B4-BE49-F238E27FC236}">
                  <a16:creationId xmlns:a16="http://schemas.microsoft.com/office/drawing/2014/main" id="{04F4395C-D536-7412-DA27-27CB4D046A4F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A56B4B0D-3455-81B5-8078-7B59160A4A7E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71C11C32-989E-46E1-81D3-E3540A5E1417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B7FB739-3C16-D6AE-B634-448D38364454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001067A1-DCFF-A844-2E14-B8C932B38B48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9" name="Master Title Placeholder">
            <a:extLst>
              <a:ext uri="{FF2B5EF4-FFF2-40B4-BE49-F238E27FC236}">
                <a16:creationId xmlns:a16="http://schemas.microsoft.com/office/drawing/2014/main" id="{C5F0EFB3-EE4E-0B07-F454-E6D44406F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332768"/>
            <a:ext cx="11088001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defTabSz="972000"/>
            <a:r>
              <a:rPr lang="en-US"/>
              <a:t>This is the title in 36pt</a:t>
            </a:r>
            <a:endParaRPr lang="en-US" dirty="0"/>
          </a:p>
        </p:txBody>
      </p:sp>
      <p:sp>
        <p:nvSpPr>
          <p:cNvPr id="2" name="empower - DO NOT DELETE!!!">
            <a:extLst>
              <a:ext uri="{FF2B5EF4-FFF2-40B4-BE49-F238E27FC236}">
                <a16:creationId xmlns:a16="http://schemas.microsoft.com/office/drawing/2014/main" id="{978CAA9E-CAAE-E314-D023-855631DDB452}"/>
              </a:ext>
            </a:extLst>
          </p:cNvPr>
          <p:cNvSpPr/>
          <p:nvPr>
            <p:custDataLst>
              <p:tags r:id="rId6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lvl="0"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3702D8-C787-BB6D-E660-FE3EF595572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US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US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5D2F2F-07C4-15CA-080C-498BFCC40B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000" y="1700808"/>
            <a:ext cx="11088001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Body heading blue</a:t>
            </a:r>
          </a:p>
          <a:p>
            <a:pPr lvl="5"/>
            <a:r>
              <a:rPr lang="en-US"/>
              <a:t>Body heading light blue</a:t>
            </a:r>
          </a:p>
          <a:p>
            <a:pPr lvl="6"/>
            <a:r>
              <a:rPr lang="en-US"/>
              <a:t>Numbered</a:t>
            </a:r>
          </a:p>
          <a:p>
            <a:pPr lvl="7"/>
            <a:r>
              <a:rPr lang="en-US"/>
              <a:t>Numbered sub</a:t>
            </a:r>
          </a:p>
          <a:p>
            <a:pPr lvl="8"/>
            <a:r>
              <a:rPr lang="en-US"/>
              <a:t>Ninth level similar to subtitle</a:t>
            </a:r>
            <a:endParaRPr lang="en-US" dirty="0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E20D2EC-CDD4-6ACF-993E-65381BD1BF63}"/>
              </a:ext>
            </a:extLst>
          </p:cNvPr>
          <p:cNvSpPr/>
          <p:nvPr>
            <p:custDataLst>
              <p:tags r:id="rId6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lvl="0" algn="ctr" defTabSz="486000">
              <a:lnSpc>
                <a:spcPct val="100000"/>
              </a:lnSpc>
              <a:spcAft>
                <a:spcPts val="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8857016-02C1-D653-E7A6-F7B7242753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CAD0E5F-A134-4DDE-96E9-F54CB7E3B597}" type="datetimeFigureOut">
              <a:rPr lang="fr-CA" smtClean="0"/>
              <a:t>2025-11-26</a:t>
            </a:fld>
            <a:endParaRPr lang="fr-CA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53DF507-11BC-5691-0753-77E7841A73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CA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6484BE-26E2-51EE-F28B-23DE36B75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64DB47A-66C6-44E1-8981-D690A89C1CD4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259487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  <p:sldLayoutId id="2147483945" r:id="rId15"/>
    <p:sldLayoutId id="2147483946" r:id="rId16"/>
    <p:sldLayoutId id="2147483947" r:id="rId17"/>
    <p:sldLayoutId id="2147483948" r:id="rId18"/>
    <p:sldLayoutId id="2147483949" r:id="rId19"/>
    <p:sldLayoutId id="2147483950" r:id="rId20"/>
    <p:sldLayoutId id="2147483951" r:id="rId21"/>
    <p:sldLayoutId id="2147483952" r:id="rId22"/>
    <p:sldLayoutId id="2147483953" r:id="rId23"/>
    <p:sldLayoutId id="2147483954" r:id="rId24"/>
    <p:sldLayoutId id="2147483955" r:id="rId25"/>
    <p:sldLayoutId id="2147483956" r:id="rId26"/>
    <p:sldLayoutId id="2147483957" r:id="rId27"/>
    <p:sldLayoutId id="2147483958" r:id="rId28"/>
    <p:sldLayoutId id="2147483959" r:id="rId29"/>
    <p:sldLayoutId id="2147483960" r:id="rId30"/>
    <p:sldLayoutId id="2147483961" r:id="rId31"/>
    <p:sldLayoutId id="2147483962" r:id="rId32"/>
    <p:sldLayoutId id="2147483963" r:id="rId33"/>
    <p:sldLayoutId id="2147483964" r:id="rId34"/>
    <p:sldLayoutId id="2147483965" r:id="rId35"/>
    <p:sldLayoutId id="2147483966" r:id="rId36"/>
    <p:sldLayoutId id="2147483967" r:id="rId37"/>
    <p:sldLayoutId id="2147483968" r:id="rId38"/>
    <p:sldLayoutId id="2147483969" r:id="rId39"/>
    <p:sldLayoutId id="2147483970" r:id="rId40"/>
    <p:sldLayoutId id="2147483971" r:id="rId41"/>
    <p:sldLayoutId id="2147483972" r:id="rId42"/>
    <p:sldLayoutId id="2147483973" r:id="rId43"/>
    <p:sldLayoutId id="2147483974" r:id="rId44"/>
    <p:sldLayoutId id="2147483975" r:id="rId45"/>
    <p:sldLayoutId id="2147483976" r:id="rId46"/>
    <p:sldLayoutId id="2147483977" r:id="rId47"/>
    <p:sldLayoutId id="2147483978" r:id="rId48"/>
    <p:sldLayoutId id="2147483979" r:id="rId49"/>
    <p:sldLayoutId id="2147483980" r:id="rId50"/>
    <p:sldLayoutId id="2147483981" r:id="rId51"/>
    <p:sldLayoutId id="2147483982" r:id="rId52"/>
    <p:sldLayoutId id="2147483983" r:id="rId53"/>
    <p:sldLayoutId id="2147483984" r:id="rId54"/>
    <p:sldLayoutId id="2147483985" r:id="rId55"/>
    <p:sldLayoutId id="2147483986" r:id="rId56"/>
    <p:sldLayoutId id="2147483987" r:id="rId57"/>
    <p:sldLayoutId id="2147483988" r:id="rId58"/>
    <p:sldLayoutId id="2147483989" r:id="rId59"/>
    <p:sldLayoutId id="2147483990" r:id="rId60"/>
  </p:sldLayoutIdLst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4="http://schemas.microsoft.com/office/drawing/2010/main" xmlns:a16="http://schemas.microsoft.com/office/drawing/2014/main"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600" b="0" i="0" kern="1200" spc="0" baseline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dirty="0">
          <a:solidFill>
            <a:schemeClr val="accent1"/>
          </a:solidFill>
          <a:latin typeface="+mj-lt"/>
          <a:ea typeface="+mn-ea"/>
          <a:cs typeface="+mn-cs"/>
        </a:defRPr>
      </a:lvl5pPr>
      <a:lvl6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noProof="0" dirty="0">
          <a:solidFill>
            <a:schemeClr val="accent2"/>
          </a:solidFill>
          <a:latin typeface="+mj-lt"/>
          <a:ea typeface="+mn-ea"/>
          <a:cs typeface="+mn-cs"/>
        </a:defRPr>
      </a:lvl6pPr>
      <a:lvl7pPr marL="250825" indent="-250825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 typeface="+mj-lt"/>
        <a:buAutoNum type="arabicPeriod"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504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+mj-lt"/>
        <a:buAutoNum type="alphaLcParenR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kern="1200" baseline="0" noProof="0" dirty="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lvl1pPr marL="0" indent="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200" indent="-2032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2032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09600" indent="-203200" algn="l" defTabSz="203200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200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Tx/>
        <a:buNone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406400" indent="-4064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+mj-lt"/>
        <a:buAutoNum type="arabicPeriod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203200" rtl="0" eaLnBrk="1" latinLnBrk="0" hangingPunct="1">
        <a:lnSpc>
          <a:spcPts val="3200"/>
        </a:lnSpc>
        <a:spcBef>
          <a:spcPts val="0"/>
        </a:spcBef>
        <a:spcAft>
          <a:spcPts val="1600"/>
        </a:spcAft>
        <a:buFontTx/>
        <a:buNone/>
        <a:defRPr lang="en-US" sz="24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200" rtl="0" eaLnBrk="1" latinLnBrk="0" hangingPunct="1">
        <a:lnSpc>
          <a:spcPts val="4000"/>
        </a:lnSpc>
        <a:spcBef>
          <a:spcPts val="1600"/>
        </a:spcBef>
        <a:spcAft>
          <a:spcPts val="1600"/>
        </a:spcAft>
        <a:buFontTx/>
        <a:buNone/>
        <a:defRPr lang="en-US" sz="360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5" orient="horz" pos="799">
          <p15:clr>
            <a:srgbClr val="F26B43"/>
          </p15:clr>
        </p15:guide>
        <p15:guide id="7" orient="horz" pos="1071">
          <p15:clr>
            <a:srgbClr val="F26B43"/>
          </p15:clr>
        </p15:guide>
        <p15:guide id="8" orient="horz" pos="527">
          <p15:clr>
            <a:srgbClr val="5ACBF0"/>
          </p15:clr>
        </p15:guide>
        <p15:guide id="9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hyperlink" Target="https://www.loom.com/share/060aece70d884603be409d19ea9f6da8" TargetMode="Externa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hyperlink" Target="https://www.loom.com/share/acaa357edd47429d8e98c61f7f4bd29b?sid=71facd7b-4565-43d0-a3ef-09ff659d8e3e" TargetMode="External"/><Relationship Id="rId47" Type="http://schemas.openxmlformats.org/officeDocument/2006/relationships/hyperlink" Target="https://www.loom.com/share/7c8d079175114751b79c53d5d0189fb8?sid=ff2b11f9-7e9b-48b2-8101-2f0b7b05734b" TargetMode="Externa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slideLayout" Target="../slideLayouts/slideLayout17.xml"/><Relationship Id="rId40" Type="http://schemas.openxmlformats.org/officeDocument/2006/relationships/image" Target="../media/image10.png"/><Relationship Id="rId45" Type="http://schemas.openxmlformats.org/officeDocument/2006/relationships/hyperlink" Target="https://www.loom.com/share/2715de8ca67a4dd6bddf87a6349f3fe5?sid=788d54a3-96f0-4cbb-b606-507e7862caac" TargetMode="Externa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hyperlink" Target="https://www.loom.com/share/537de45824a24e6a9ca5ec8d948501f5?sid=6c10ead0-3e80-465f-8ce4-6a84b7918ba5" TargetMode="Externa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4" Type="http://schemas.openxmlformats.org/officeDocument/2006/relationships/hyperlink" Target="https://www.loom.com/share/d2612357af8e4a8cac1fef71dcfa317c?sid=72d91758-1987-4dea-88bb-938cce32ef7b" TargetMode="Externa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hyperlink" Target="https://www.loom.com/share/acaa357edd47429d8e98c61f7f4bd29b?sid=1985c75e-6b8a-46ee-91af-a0b9af872595" TargetMode="External"/><Relationship Id="rId48" Type="http://schemas.openxmlformats.org/officeDocument/2006/relationships/hyperlink" Target="https://www.loom.com/share/f54b5a67c728479eb79fd9380db07789?sid=e8ca2adf-5149-4ead-82e3-625f183c37e4" TargetMode="External"/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image" Target="../media/image9.png"/><Relationship Id="rId46" Type="http://schemas.openxmlformats.org/officeDocument/2006/relationships/hyperlink" Target="https://www.loom.com/share/135a601f4bbb4142b5f421095248faf2?sid=02ba2d4f-283d-426e-9eba-f82c72713942" TargetMode="External"/><Relationship Id="rId20" Type="http://schemas.openxmlformats.org/officeDocument/2006/relationships/tags" Target="../tags/tag30.xml"/><Relationship Id="rId41" Type="http://schemas.openxmlformats.org/officeDocument/2006/relationships/image" Target="../media/image11.svg"/><Relationship Id="rId1" Type="http://schemas.openxmlformats.org/officeDocument/2006/relationships/tags" Target="../tags/tag11.xml"/><Relationship Id="rId6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07520-FD66-EFC0-E596-7FDDCE292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The empower® ribbon – video guides (PC version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408A19-EB85-B8A6-EE07-B56854F88A1B}"/>
              </a:ext>
            </a:extLst>
          </p:cNvPr>
          <p:cNvPicPr>
            <a:picLocks noChangeAspect="1"/>
          </p:cNvPicPr>
          <p:nvPr/>
        </p:nvPicPr>
        <p:blipFill>
          <a:blip r:embed="rId38"/>
          <a:srcRect l="455" t="4782" r="991" b="3609"/>
          <a:stretch>
            <a:fillRect/>
          </a:stretch>
        </p:blipFill>
        <p:spPr>
          <a:xfrm>
            <a:off x="552000" y="1700808"/>
            <a:ext cx="11088001" cy="602120"/>
          </a:xfrm>
          <a:prstGeom prst="roundRect">
            <a:avLst>
              <a:gd name="adj" fmla="val 10735"/>
            </a:avLst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</p:pic>
      <p:sp>
        <p:nvSpPr>
          <p:cNvPr id="82" name="Oval 81">
            <a:extLst>
              <a:ext uri="{FF2B5EF4-FFF2-40B4-BE49-F238E27FC236}">
                <a16:creationId xmlns:a16="http://schemas.microsoft.com/office/drawing/2014/main" id="{FFEFAD36-B741-A248-7A8A-028438702FD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04057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3BFBCD0F-C20F-4BF9-80BB-3C52AD21DE79}"/>
              </a:ext>
            </a:extLst>
          </p:cNvPr>
          <p:cNvCxnSpPr>
            <a:cxnSpLocks/>
            <a:endCxn id="82" idx="4"/>
          </p:cNvCxnSpPr>
          <p:nvPr/>
        </p:nvCxnSpPr>
        <p:spPr>
          <a:xfrm rot="5400000" flipH="1" flipV="1">
            <a:off x="708750" y="2634142"/>
            <a:ext cx="675314" cy="0"/>
          </a:xfrm>
          <a:prstGeom prst="bentConnector3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5006E2F9-44A0-AC2A-762D-CB2CFEC850EF}"/>
              </a:ext>
            </a:extLst>
          </p:cNvPr>
          <p:cNvCxnSpPr>
            <a:cxnSpLocks/>
            <a:stCxn id="6" idx="0"/>
            <a:endCxn id="127" idx="4"/>
          </p:cNvCxnSpPr>
          <p:nvPr/>
        </p:nvCxnSpPr>
        <p:spPr>
          <a:xfrm rot="16200000" flipV="1">
            <a:off x="2256922" y="2402218"/>
            <a:ext cx="517328" cy="293162"/>
          </a:xfrm>
          <a:prstGeom prst="bentConnector3">
            <a:avLst>
              <a:gd name="adj1" fmla="val 67491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5EE26EF8-0AF0-A338-5492-9CAFC2C2ACCC}"/>
              </a:ext>
            </a:extLst>
          </p:cNvPr>
          <p:cNvCxnSpPr>
            <a:cxnSpLocks/>
            <a:stCxn id="6" idx="0"/>
            <a:endCxn id="128" idx="4"/>
          </p:cNvCxnSpPr>
          <p:nvPr/>
        </p:nvCxnSpPr>
        <p:spPr>
          <a:xfrm rot="5400000" flipH="1" flipV="1">
            <a:off x="2904713" y="2047589"/>
            <a:ext cx="517328" cy="1002421"/>
          </a:xfrm>
          <a:prstGeom prst="bentConnector3">
            <a:avLst>
              <a:gd name="adj1" fmla="val 67491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DAB9E755-FDC5-3759-8134-88C4E2D7C38F}"/>
              </a:ext>
            </a:extLst>
          </p:cNvPr>
          <p:cNvCxnSpPr>
            <a:cxnSpLocks/>
            <a:endCxn id="129" idx="4"/>
          </p:cNvCxnSpPr>
          <p:nvPr/>
        </p:nvCxnSpPr>
        <p:spPr>
          <a:xfrm rot="5400000" flipH="1" flipV="1">
            <a:off x="4201420" y="2634142"/>
            <a:ext cx="675313" cy="0"/>
          </a:xfrm>
          <a:prstGeom prst="bentConnector3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5031E878-DA59-414C-3734-66F2A4647D8D}"/>
              </a:ext>
            </a:extLst>
          </p:cNvPr>
          <p:cNvCxnSpPr>
            <a:cxnSpLocks/>
            <a:stCxn id="31" idx="0"/>
            <a:endCxn id="130" idx="4"/>
          </p:cNvCxnSpPr>
          <p:nvPr/>
        </p:nvCxnSpPr>
        <p:spPr>
          <a:xfrm rot="5400000" flipH="1" flipV="1">
            <a:off x="5788961" y="1999951"/>
            <a:ext cx="517328" cy="1097697"/>
          </a:xfrm>
          <a:prstGeom prst="bentConnector3">
            <a:avLst>
              <a:gd name="adj1" fmla="val 66571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nector: Elbow 107">
            <a:extLst>
              <a:ext uri="{FF2B5EF4-FFF2-40B4-BE49-F238E27FC236}">
                <a16:creationId xmlns:a16="http://schemas.microsoft.com/office/drawing/2014/main" id="{46291DA7-E4C1-FCD5-ECD8-3709C40A8EAE}"/>
              </a:ext>
            </a:extLst>
          </p:cNvPr>
          <p:cNvCxnSpPr>
            <a:cxnSpLocks/>
            <a:stCxn id="36" idx="0"/>
            <a:endCxn id="131" idx="4"/>
          </p:cNvCxnSpPr>
          <p:nvPr/>
        </p:nvCxnSpPr>
        <p:spPr>
          <a:xfrm rot="5400000" flipH="1" flipV="1">
            <a:off x="7380829" y="1781388"/>
            <a:ext cx="517328" cy="1534822"/>
          </a:xfrm>
          <a:prstGeom prst="bentConnector3">
            <a:avLst>
              <a:gd name="adj1" fmla="val 66571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D8FA8420-D4BF-E9A3-CDD4-BA705ECE40CC}"/>
              </a:ext>
            </a:extLst>
          </p:cNvPr>
          <p:cNvCxnSpPr>
            <a:cxnSpLocks/>
            <a:stCxn id="41" idx="0"/>
            <a:endCxn id="132" idx="4"/>
          </p:cNvCxnSpPr>
          <p:nvPr/>
        </p:nvCxnSpPr>
        <p:spPr>
          <a:xfrm rot="5400000" flipH="1" flipV="1">
            <a:off x="8539084" y="1991676"/>
            <a:ext cx="522091" cy="1109484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AF2437CB-6044-4F66-0BC2-8A419776E2F4}"/>
              </a:ext>
            </a:extLst>
          </p:cNvPr>
          <p:cNvCxnSpPr>
            <a:cxnSpLocks/>
            <a:stCxn id="46" idx="0"/>
            <a:endCxn id="134" idx="4"/>
          </p:cNvCxnSpPr>
          <p:nvPr/>
        </p:nvCxnSpPr>
        <p:spPr>
          <a:xfrm rot="5400000" flipH="1" flipV="1">
            <a:off x="9974127" y="1934700"/>
            <a:ext cx="517328" cy="1228198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723A29FE-E360-6CB8-FF3F-881720C2E7DA}"/>
              </a:ext>
            </a:extLst>
          </p:cNvPr>
          <p:cNvCxnSpPr>
            <a:cxnSpLocks/>
            <a:stCxn id="44" idx="0"/>
            <a:endCxn id="135" idx="4"/>
          </p:cNvCxnSpPr>
          <p:nvPr/>
        </p:nvCxnSpPr>
        <p:spPr>
          <a:xfrm rot="5400000" flipH="1" flipV="1">
            <a:off x="10902081" y="2380054"/>
            <a:ext cx="517328" cy="337491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Oval 126">
            <a:extLst>
              <a:ext uri="{FF2B5EF4-FFF2-40B4-BE49-F238E27FC236}">
                <a16:creationId xmlns:a16="http://schemas.microsoft.com/office/drawing/2014/main" id="{F206516B-A894-75AE-3A4C-1504AA00A54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333005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E70FFA24-C89B-91DE-5870-9CD1F03499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628588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BC1D628B-E7B3-C13F-15CE-EDCB204323A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496726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53228A34-E6C2-11DC-E90A-90735B49C61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560474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8C54C15-508B-140C-D577-62FF869E85D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70904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A29C6F44-5317-2224-05FD-C17ED865A17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318871" y="2213372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7045FDC4-BBE0-CB55-38D5-C0C835C1447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393378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D2388DD5-4914-EF9E-0777-DFD9F3BCB52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0810890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47BDDDCE-3E65-2084-C70B-6577332EDAD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293491" y="221813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fr-CA" sz="1400" dirty="0" err="1">
              <a:solidFill>
                <a:schemeClr val="bg1"/>
              </a:solidFill>
            </a:endParaRPr>
          </a:p>
        </p:txBody>
      </p: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37D962E6-8181-39CE-93B4-6DFF09ABCE21}"/>
              </a:ext>
            </a:extLst>
          </p:cNvPr>
          <p:cNvCxnSpPr>
            <a:cxnSpLocks/>
            <a:stCxn id="46" idx="0"/>
            <a:endCxn id="133" idx="4"/>
          </p:cNvCxnSpPr>
          <p:nvPr/>
        </p:nvCxnSpPr>
        <p:spPr>
          <a:xfrm rot="5400000" flipH="1" flipV="1">
            <a:off x="9765371" y="2143456"/>
            <a:ext cx="517328" cy="81068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box full half">
            <a:extLst>
              <a:ext uri="{FF2B5EF4-FFF2-40B4-BE49-F238E27FC236}">
                <a16:creationId xmlns:a16="http://schemas.microsoft.com/office/drawing/2014/main" id="{1A6C7FD1-3B74-48EE-7537-1F667568F64B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550862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New</a:t>
            </a:r>
            <a:endParaRPr sz="1000" b="1" dirty="0">
              <a:solidFill>
                <a:schemeClr val="accent1"/>
              </a:solidFill>
              <a:latin typeface="+mj-lt"/>
            </a:endParaRPr>
          </a:p>
          <a:p>
            <a:pPr marL="108000" lvl="1" indent="-108000">
              <a:spcBef>
                <a:spcPts val="400"/>
              </a:spcBef>
            </a:pPr>
            <a:r>
              <a:rPr sz="900" dirty="0"/>
              <a:t>Start a new presentation – select company template options</a:t>
            </a:r>
          </a:p>
          <a:p>
            <a:pPr marL="108000" lvl="1" indent="-108000">
              <a:spcBef>
                <a:spcPts val="600"/>
              </a:spcBef>
            </a:pPr>
            <a:r>
              <a:rPr sz="900" dirty="0"/>
              <a:t>Convert to other brands and template</a:t>
            </a:r>
          </a:p>
          <a:p>
            <a:pPr marL="108000" lvl="1" indent="-108000">
              <a:spcBef>
                <a:spcPts val="600"/>
              </a:spcBef>
            </a:pPr>
            <a:r>
              <a:rPr sz="900" dirty="0"/>
              <a:t>Native tools to add, change and reset new slide layouts</a:t>
            </a:r>
          </a:p>
        </p:txBody>
      </p:sp>
      <p:sp>
        <p:nvSpPr>
          <p:cNvPr id="6" name="Rounded box full half">
            <a:extLst>
              <a:ext uri="{FF2B5EF4-FFF2-40B4-BE49-F238E27FC236}">
                <a16:creationId xmlns:a16="http://schemas.microsoft.com/office/drawing/2014/main" id="{5816A05C-CF03-F627-65B2-BBB87F1BFCF7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1924167" y="2807463"/>
            <a:ext cx="147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82800" rIns="72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lang="en-GB" sz="1400" b="1" dirty="0">
                <a:solidFill>
                  <a:schemeClr val="accent1"/>
                </a:solidFill>
                <a:latin typeface="+mj-lt"/>
              </a:rPr>
              <a:t>Text and Color</a:t>
            </a:r>
            <a:r>
              <a:rPr lang="en-GB" sz="1200" b="1" dirty="0">
                <a:solidFill>
                  <a:schemeClr val="accent1"/>
                </a:solidFill>
                <a:latin typeface="+mj-lt"/>
              </a:rPr>
              <a:t> </a:t>
            </a:r>
            <a:endParaRPr sz="1200" b="1" dirty="0">
              <a:solidFill>
                <a:schemeClr val="accent1"/>
              </a:solidFill>
              <a:latin typeface="+mj-lt"/>
            </a:endParaRPr>
          </a:p>
          <a:p>
            <a:pPr marL="108000" lvl="1" indent="-108000">
              <a:spcBef>
                <a:spcPts val="400"/>
              </a:spcBef>
            </a:pPr>
            <a:r>
              <a:rPr sz="900" dirty="0"/>
              <a:t>Brand based text formatting and coloring option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Plus, commonly used PPT text formatting option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Color palettes are customizable including headings and additional colors 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Fonts and colors tie into the PowerPoint theme and the empower® design check tools</a:t>
            </a:r>
          </a:p>
          <a:p>
            <a:pPr marL="108000" lvl="1" indent="-108000">
              <a:spcBef>
                <a:spcPts val="600"/>
              </a:spcBef>
            </a:pPr>
            <a:endParaRPr lang="en-US" sz="900" dirty="0"/>
          </a:p>
        </p:txBody>
      </p:sp>
      <p:sp>
        <p:nvSpPr>
          <p:cNvPr id="26" name="Rounded box full half">
            <a:extLst>
              <a:ext uri="{FF2B5EF4-FFF2-40B4-BE49-F238E27FC236}">
                <a16:creationId xmlns:a16="http://schemas.microsoft.com/office/drawing/2014/main" id="{A4754A48-DEB7-479B-09A2-CF43C23D484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3477472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" tIns="82800" rIns="576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Library</a:t>
            </a:r>
            <a:r>
              <a:rPr sz="1000" b="1" dirty="0">
                <a:solidFill>
                  <a:schemeClr val="accent2"/>
                </a:solidFill>
                <a:latin typeface="+mj-lt"/>
              </a:rPr>
              <a:t> </a:t>
            </a:r>
          </a:p>
          <a:p>
            <a:pPr marL="108000" lvl="1" indent="-108000">
              <a:spcBef>
                <a:spcPts val="400"/>
              </a:spcBef>
            </a:pPr>
            <a:r>
              <a:rPr sz="900" dirty="0"/>
              <a:t>Reuse, circulate and recycle company content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Access the latest company templates</a:t>
            </a:r>
          </a:p>
          <a:p>
            <a:pPr marL="108000" lvl="1" indent="-108000">
              <a:spcBef>
                <a:spcPts val="600"/>
              </a:spcBef>
            </a:pPr>
            <a:r>
              <a:rPr sz="900" dirty="0"/>
              <a:t>Insert branded/ non-branded design elements, slides, text elements, charts, tables, icons and pictures</a:t>
            </a:r>
          </a:p>
        </p:txBody>
      </p:sp>
      <p:sp>
        <p:nvSpPr>
          <p:cNvPr id="31" name="Rounded box full half">
            <a:extLst>
              <a:ext uri="{FF2B5EF4-FFF2-40B4-BE49-F238E27FC236}">
                <a16:creationId xmlns:a16="http://schemas.microsoft.com/office/drawing/2014/main" id="{84EE8436-12F2-BA5F-E26E-BEA8B6C3754F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4850777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Insert</a:t>
            </a:r>
            <a:r>
              <a:rPr sz="1000" b="1" dirty="0">
                <a:solidFill>
                  <a:schemeClr val="accent2"/>
                </a:solidFill>
                <a:latin typeface="+mj-lt"/>
              </a:rPr>
              <a:t> 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Automatic agenda tool</a:t>
            </a:r>
          </a:p>
          <a:p>
            <a:pPr marL="108000" lvl="1" indent="-108000">
              <a:spcBef>
                <a:spcPts val="600"/>
              </a:spcBef>
            </a:pPr>
            <a:r>
              <a:rPr sz="900" dirty="0"/>
              <a:t>Access to insert library design element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Insert empower® charts and Excel link tool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Insert additional elements and shapes</a:t>
            </a:r>
            <a:endParaRPr sz="900" dirty="0"/>
          </a:p>
          <a:p>
            <a:pPr marL="108000" lvl="1" indent="-108000">
              <a:spcBef>
                <a:spcPts val="400"/>
              </a:spcBef>
            </a:pPr>
            <a:endParaRPr sz="900" dirty="0"/>
          </a:p>
        </p:txBody>
      </p:sp>
      <p:sp>
        <p:nvSpPr>
          <p:cNvPr id="36" name="Rounded box full half">
            <a:extLst>
              <a:ext uri="{FF2B5EF4-FFF2-40B4-BE49-F238E27FC236}">
                <a16:creationId xmlns:a16="http://schemas.microsoft.com/office/drawing/2014/main" id="{35729111-E8B0-BE95-4551-67CE8A45C13A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6224082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Align</a:t>
            </a:r>
          </a:p>
          <a:p>
            <a:pPr marL="108000" lvl="1" indent="-108000">
              <a:spcBef>
                <a:spcPts val="400"/>
              </a:spcBef>
            </a:pPr>
            <a:r>
              <a:rPr sz="900" dirty="0"/>
              <a:t>Layout tools to: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A</a:t>
            </a:r>
            <a:r>
              <a:rPr sz="900" dirty="0"/>
              <a:t>rrange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P</a:t>
            </a:r>
            <a:r>
              <a:rPr sz="900" dirty="0"/>
              <a:t>osition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R</a:t>
            </a:r>
            <a:r>
              <a:rPr sz="900" dirty="0"/>
              <a:t>esize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S</a:t>
            </a:r>
            <a:r>
              <a:rPr sz="900" dirty="0"/>
              <a:t>elect</a:t>
            </a:r>
          </a:p>
          <a:p>
            <a:pPr marL="216000" lvl="2" indent="-108000">
              <a:spcBef>
                <a:spcPts val="300"/>
              </a:spcBef>
            </a:pPr>
            <a:r>
              <a:rPr sz="900" dirty="0"/>
              <a:t>Stretch</a:t>
            </a:r>
          </a:p>
          <a:p>
            <a:pPr marL="216000" lvl="2" indent="-108000">
              <a:spcBef>
                <a:spcPts val="300"/>
              </a:spcBef>
            </a:pPr>
            <a:r>
              <a:rPr sz="900" dirty="0"/>
              <a:t>Dock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Angles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Drawing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Shape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Margins</a:t>
            </a:r>
          </a:p>
          <a:p>
            <a:pPr marL="216000" lvl="2" indent="-108000">
              <a:spcBef>
                <a:spcPts val="300"/>
              </a:spcBef>
            </a:pPr>
            <a:r>
              <a:rPr lang="en-US" sz="900" dirty="0"/>
              <a:t>Spacing</a:t>
            </a:r>
            <a:endParaRPr sz="900" dirty="0"/>
          </a:p>
        </p:txBody>
      </p:sp>
      <p:sp>
        <p:nvSpPr>
          <p:cNvPr id="41" name="Rounded box full half">
            <a:extLst>
              <a:ext uri="{FF2B5EF4-FFF2-40B4-BE49-F238E27FC236}">
                <a16:creationId xmlns:a16="http://schemas.microsoft.com/office/drawing/2014/main" id="{F3AA74DA-CFB8-B1B9-5E2D-4E0A88E2711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7597387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Finalize</a:t>
            </a:r>
            <a:r>
              <a:rPr sz="1000" b="1" dirty="0">
                <a:solidFill>
                  <a:schemeClr val="accent2"/>
                </a:solidFill>
                <a:latin typeface="+mj-lt"/>
              </a:rPr>
              <a:t> </a:t>
            </a:r>
          </a:p>
          <a:p>
            <a:pPr marL="108000" lvl="1" indent="-108000">
              <a:spcBef>
                <a:spcPts val="400"/>
              </a:spcBef>
            </a:pPr>
            <a:r>
              <a:rPr sz="900" dirty="0"/>
              <a:t>Translation and other language tool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Set presentation setting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Design check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Additional checks for consistency and spelling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Share and send files and slides</a:t>
            </a:r>
            <a:endParaRPr sz="900" dirty="0"/>
          </a:p>
        </p:txBody>
      </p:sp>
      <p:sp>
        <p:nvSpPr>
          <p:cNvPr id="46" name="Rounded box full half">
            <a:extLst>
              <a:ext uri="{FF2B5EF4-FFF2-40B4-BE49-F238E27FC236}">
                <a16:creationId xmlns:a16="http://schemas.microsoft.com/office/drawing/2014/main" id="{4E3D9689-8019-74B0-662F-A67D674459E4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8970692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82800" rIns="72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Support</a:t>
            </a:r>
            <a:br>
              <a:rPr sz="1400" b="1" dirty="0">
                <a:solidFill>
                  <a:schemeClr val="accent1"/>
                </a:solidFill>
                <a:latin typeface="+mj-lt"/>
              </a:rPr>
            </a:br>
            <a:r>
              <a:rPr sz="1400" b="1" dirty="0">
                <a:solidFill>
                  <a:schemeClr val="accent1"/>
                </a:solidFill>
                <a:latin typeface="+mj-lt"/>
              </a:rPr>
              <a:t>and Help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Links to request help and support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Links to our knowledge base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Send feedback and report bugs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Customize user settings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 dirty="0"/>
              <a:t>Check empower® version number</a:t>
            </a:r>
            <a:endParaRPr sz="900" dirty="0"/>
          </a:p>
        </p:txBody>
      </p:sp>
      <p:sp>
        <p:nvSpPr>
          <p:cNvPr id="44" name="Rounded box full half">
            <a:extLst>
              <a:ext uri="{FF2B5EF4-FFF2-40B4-BE49-F238E27FC236}">
                <a16:creationId xmlns:a16="http://schemas.microsoft.com/office/drawing/2014/main" id="{D36EDD7A-AE07-8475-CDBC-889E3F3E83B4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10344000" y="2807463"/>
            <a:ext cx="1296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sz="1400" b="1" dirty="0">
                <a:solidFill>
                  <a:schemeClr val="accent1"/>
                </a:solidFill>
                <a:latin typeface="+mj-lt"/>
              </a:rPr>
              <a:t>AI</a:t>
            </a:r>
            <a:br>
              <a:rPr sz="1400" b="1" dirty="0">
                <a:solidFill>
                  <a:schemeClr val="accent1"/>
                </a:solidFill>
                <a:latin typeface="+mj-lt"/>
              </a:rPr>
            </a:br>
            <a:r>
              <a:rPr sz="1400" b="1" dirty="0">
                <a:solidFill>
                  <a:schemeClr val="accent1"/>
                </a:solidFill>
                <a:latin typeface="+mj-lt"/>
              </a:rPr>
              <a:t>Assistant </a:t>
            </a:r>
          </a:p>
          <a:p>
            <a:pPr marL="108000" lvl="1" indent="-108000">
              <a:spcBef>
                <a:spcPts val="600"/>
              </a:spcBef>
            </a:pPr>
            <a:r>
              <a:rPr sz="900" dirty="0"/>
              <a:t>Get help with </a:t>
            </a:r>
            <a:r>
              <a:rPr lang="en-US" sz="900" dirty="0"/>
              <a:t>drafting, generating improving and modifying text.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 dirty="0"/>
              <a:t>Install it in PowerPoint, Word and Outlook to translate, create concise headlines, and refine text</a:t>
            </a:r>
          </a:p>
        </p:txBody>
      </p:sp>
      <p:sp>
        <p:nvSpPr>
          <p:cNvPr id="3" name="_Footnotes - full width">
            <a:extLst>
              <a:ext uri="{FF2B5EF4-FFF2-40B4-BE49-F238E27FC236}">
                <a16:creationId xmlns:a16="http://schemas.microsoft.com/office/drawing/2014/main" id="{A033E0D2-06E3-E109-FEEE-E41BC3DB4D81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550861" y="6455982"/>
            <a:ext cx="11088687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lvl="0" indent="0" defTabSz="2032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aseline="0"/>
            </a:lvl1pPr>
            <a:lvl2pPr marL="144000" lvl="1" indent="-144000" defTabSz="2032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lang="en-US" sz="1000" baseline="0" noProof="0" dirty="0"/>
            </a:lvl2pPr>
            <a:lvl3pPr marL="504000" indent="-252000" defTabSz="2032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000" baseline="0" dirty="0"/>
            </a:lvl3pPr>
            <a:lvl4pPr marL="756000" indent="-252000" defTabSz="2032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000" baseline="0" dirty="0"/>
            </a:lvl4pPr>
            <a:lvl5pPr marL="0" indent="0" defTabSz="20320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1000" b="1" baseline="0" dirty="0">
                <a:solidFill>
                  <a:schemeClr val="accent1"/>
                </a:solidFill>
                <a:latin typeface="+mj-lt"/>
              </a:defRPr>
            </a:lvl5pPr>
            <a:lvl6pPr marL="0" indent="0" defTabSz="203200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b="1" baseline="0" noProof="0" dirty="0">
                <a:solidFill>
                  <a:schemeClr val="accent2"/>
                </a:solidFill>
                <a:latin typeface="+mj-lt"/>
              </a:defRPr>
            </a:lvl6pPr>
            <a:lvl7pPr marL="250825" indent="-250825" defTabSz="20320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b="0" baseline="0" noProof="0" dirty="0">
                <a:solidFill>
                  <a:schemeClr val="accent1"/>
                </a:solidFill>
                <a:latin typeface="+mj-lt"/>
              </a:defRPr>
            </a:lvl7pPr>
            <a:lvl8pPr marL="504000" indent="-252000" defTabSz="2032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baseline="0" noProof="0" dirty="0"/>
            </a:lvl8pPr>
            <a:lvl9pPr marL="0" indent="0" defTabSz="203200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baseline="0" noProof="0" dirty="0">
                <a:solidFill>
                  <a:schemeClr val="accent2"/>
                </a:solidFill>
              </a:defRPr>
            </a:lvl9pPr>
          </a:lstStyle>
          <a:p>
            <a:r>
              <a:rPr lang="en-US"/>
              <a:t>NOTE:  Your toolbar may look different, due to different editions, differently sized monitors and different screen resolution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73B250E-A4D5-6909-1C5B-960AB61507D1}"/>
              </a:ext>
            </a:extLst>
          </p:cNvPr>
          <p:cNvGrpSpPr/>
          <p:nvPr/>
        </p:nvGrpSpPr>
        <p:grpSpPr>
          <a:xfrm>
            <a:off x="550861" y="5599113"/>
            <a:ext cx="1296000" cy="424136"/>
            <a:chOff x="550861" y="5599113"/>
            <a:chExt cx="1296000" cy="424136"/>
          </a:xfrm>
        </p:grpSpPr>
        <p:sp>
          <p:nvSpPr>
            <p:cNvPr id="15" name="Rounded box full half">
              <a:hlinkClick r:id="rId39" tooltip="empower® ribbon - New"/>
              <a:extLst>
                <a:ext uri="{FF2B5EF4-FFF2-40B4-BE49-F238E27FC236}">
                  <a16:creationId xmlns:a16="http://schemas.microsoft.com/office/drawing/2014/main" id="{692E74F9-B9E3-FDF2-F5EF-E756FDC225F5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14" name="Play Button Circled">
              <a:hlinkClick r:id="rId39" tooltip="empower ribbon - New"/>
              <a:extLst>
                <a:ext uri="{FF2B5EF4-FFF2-40B4-BE49-F238E27FC236}">
                  <a16:creationId xmlns:a16="http://schemas.microsoft.com/office/drawing/2014/main" id="{08635B37-36E5-588B-0302-3A07A713023F}"/>
                </a:ext>
              </a:extLst>
            </p:cNvPr>
            <p:cNvPicPr/>
            <p:nvPr>
              <p:custDataLst>
                <p:tags r:id="rId36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sp>
        <p:nvSpPr>
          <p:cNvPr id="149" name="Freeform: Shape 46">
            <a:extLst>
              <a:ext uri="{FF2B5EF4-FFF2-40B4-BE49-F238E27FC236}">
                <a16:creationId xmlns:a16="http://schemas.microsoft.com/office/drawing/2014/main" id="{B85CF5D2-84DB-9651-EAEB-60B10CEABB1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02063" y="6346647"/>
            <a:ext cx="358021" cy="359195"/>
          </a:xfrm>
          <a:custGeom>
            <a:avLst/>
            <a:gdLst>
              <a:gd name="connsiteX0" fmla="*/ 7 w 646114"/>
              <a:gd name="connsiteY0" fmla="*/ 91776 h 648232"/>
              <a:gd name="connsiteX1" fmla="*/ 264060 w 646114"/>
              <a:gd name="connsiteY1" fmla="*/ 55890 h 648232"/>
              <a:gd name="connsiteX2" fmla="*/ 264060 w 646114"/>
              <a:gd name="connsiteY2" fmla="*/ 310589 h 648232"/>
              <a:gd name="connsiteX3" fmla="*/ 155 w 646114"/>
              <a:gd name="connsiteY3" fmla="*/ 312089 h 648232"/>
              <a:gd name="connsiteX4" fmla="*/ 263942 w 646114"/>
              <a:gd name="connsiteY4" fmla="*/ 339856 h 648232"/>
              <a:gd name="connsiteX5" fmla="*/ 264148 w 646114"/>
              <a:gd name="connsiteY5" fmla="*/ 594760 h 648232"/>
              <a:gd name="connsiteX6" fmla="*/ 213 w 646114"/>
              <a:gd name="connsiteY6" fmla="*/ 558463 h 648232"/>
              <a:gd name="connsiteX7" fmla="*/ 213 w 646114"/>
              <a:gd name="connsiteY7" fmla="*/ 338268 h 648232"/>
              <a:gd name="connsiteX8" fmla="*/ 295945 w 646114"/>
              <a:gd name="connsiteY8" fmla="*/ 51125 h 648232"/>
              <a:gd name="connsiteX9" fmla="*/ 646034 w 646114"/>
              <a:gd name="connsiteY9" fmla="*/ 3 h 648232"/>
              <a:gd name="connsiteX10" fmla="*/ 646034 w 646114"/>
              <a:gd name="connsiteY10" fmla="*/ 307265 h 648232"/>
              <a:gd name="connsiteX11" fmla="*/ 296004 w 646114"/>
              <a:gd name="connsiteY11" fmla="*/ 310030 h 648232"/>
              <a:gd name="connsiteX12" fmla="*/ 646122 w 646114"/>
              <a:gd name="connsiteY12" fmla="*/ 342327 h 648232"/>
              <a:gd name="connsiteX13" fmla="*/ 646122 w 646114"/>
              <a:gd name="connsiteY13" fmla="*/ 648236 h 648232"/>
              <a:gd name="connsiteX14" fmla="*/ 296092 w 646114"/>
              <a:gd name="connsiteY14" fmla="*/ 598820 h 648232"/>
              <a:gd name="connsiteX15" fmla="*/ 295592 w 646114"/>
              <a:gd name="connsiteY15" fmla="*/ 341797 h 648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46114" h="648232">
                <a:moveTo>
                  <a:pt x="7" y="91776"/>
                </a:moveTo>
                <a:lnTo>
                  <a:pt x="264060" y="55890"/>
                </a:lnTo>
                <a:lnTo>
                  <a:pt x="264060" y="310589"/>
                </a:lnTo>
                <a:lnTo>
                  <a:pt x="155" y="312089"/>
                </a:lnTo>
                <a:close/>
                <a:moveTo>
                  <a:pt x="263942" y="339856"/>
                </a:moveTo>
                <a:lnTo>
                  <a:pt x="264148" y="594760"/>
                </a:lnTo>
                <a:lnTo>
                  <a:pt x="213" y="558463"/>
                </a:lnTo>
                <a:lnTo>
                  <a:pt x="213" y="338268"/>
                </a:lnTo>
                <a:close/>
                <a:moveTo>
                  <a:pt x="295945" y="51125"/>
                </a:moveTo>
                <a:lnTo>
                  <a:pt x="646034" y="3"/>
                </a:lnTo>
                <a:lnTo>
                  <a:pt x="646034" y="307265"/>
                </a:lnTo>
                <a:lnTo>
                  <a:pt x="296004" y="310030"/>
                </a:lnTo>
                <a:close/>
                <a:moveTo>
                  <a:pt x="646122" y="342327"/>
                </a:moveTo>
                <a:lnTo>
                  <a:pt x="646122" y="648236"/>
                </a:lnTo>
                <a:lnTo>
                  <a:pt x="296092" y="598820"/>
                </a:lnTo>
                <a:lnTo>
                  <a:pt x="295592" y="341797"/>
                </a:lnTo>
                <a:close/>
              </a:path>
            </a:pathLst>
          </a:custGeom>
          <a:solidFill>
            <a:schemeClr val="accent4"/>
          </a:solidFill>
          <a:ln w="2933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BEF4693-7A3E-3561-15E6-9BEACA38F192}"/>
              </a:ext>
            </a:extLst>
          </p:cNvPr>
          <p:cNvGrpSpPr/>
          <p:nvPr/>
        </p:nvGrpSpPr>
        <p:grpSpPr>
          <a:xfrm>
            <a:off x="1924166" y="5599113"/>
            <a:ext cx="1476000" cy="424136"/>
            <a:chOff x="550861" y="5599113"/>
            <a:chExt cx="1476000" cy="424136"/>
          </a:xfrm>
        </p:grpSpPr>
        <p:sp>
          <p:nvSpPr>
            <p:cNvPr id="54" name="Rounded box full half">
              <a:hlinkClick r:id="rId42" tooltip="empower ribbon - text and color"/>
              <a:extLst>
                <a:ext uri="{FF2B5EF4-FFF2-40B4-BE49-F238E27FC236}">
                  <a16:creationId xmlns:a16="http://schemas.microsoft.com/office/drawing/2014/main" id="{47093D2B-D261-4583-2AED-DB82963B44CD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>
            <a:xfrm>
              <a:off x="550861" y="5599113"/>
              <a:ext cx="147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55" name="Play Button Circled">
              <a:hlinkClick r:id="rId43" tooltip="empower ribbon - Text and colors"/>
              <a:extLst>
                <a:ext uri="{FF2B5EF4-FFF2-40B4-BE49-F238E27FC236}">
                  <a16:creationId xmlns:a16="http://schemas.microsoft.com/office/drawing/2014/main" id="{00B21190-E077-8537-599F-55D6DACFFD90}"/>
                </a:ext>
              </a:extLst>
            </p:cNvPr>
            <p:cNvPicPr/>
            <p:nvPr>
              <p:custDataLst>
                <p:tags r:id="rId34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81B184BC-BB81-1EA4-77C0-5C0464B403D0}"/>
              </a:ext>
            </a:extLst>
          </p:cNvPr>
          <p:cNvGrpSpPr/>
          <p:nvPr/>
        </p:nvGrpSpPr>
        <p:grpSpPr>
          <a:xfrm>
            <a:off x="3477471" y="5599113"/>
            <a:ext cx="1296000" cy="424136"/>
            <a:chOff x="550861" y="5599113"/>
            <a:chExt cx="1296000" cy="424136"/>
          </a:xfrm>
        </p:grpSpPr>
        <p:sp>
          <p:nvSpPr>
            <p:cNvPr id="84" name="Rounded box full half">
              <a:hlinkClick r:id="rId44" tooltip="empower ribbon - the Library"/>
              <a:extLst>
                <a:ext uri="{FF2B5EF4-FFF2-40B4-BE49-F238E27FC236}">
                  <a16:creationId xmlns:a16="http://schemas.microsoft.com/office/drawing/2014/main" id="{272F59DD-3638-2C00-4DC0-F52655507B65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85" name="Play Button Circled">
              <a:hlinkClick r:id="rId44" tooltip="empower ribbon - the library"/>
              <a:extLst>
                <a:ext uri="{FF2B5EF4-FFF2-40B4-BE49-F238E27FC236}">
                  <a16:creationId xmlns:a16="http://schemas.microsoft.com/office/drawing/2014/main" id="{5B6CFD1B-A913-2DDC-E52A-82A858E04250}"/>
                </a:ext>
              </a:extLst>
            </p:cNvPr>
            <p:cNvPicPr/>
            <p:nvPr>
              <p:custDataLst>
                <p:tags r:id="rId32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4DB2067-5B28-0528-074D-5B7E7406D9B9}"/>
              </a:ext>
            </a:extLst>
          </p:cNvPr>
          <p:cNvGrpSpPr/>
          <p:nvPr/>
        </p:nvGrpSpPr>
        <p:grpSpPr>
          <a:xfrm>
            <a:off x="4850777" y="5599113"/>
            <a:ext cx="1296000" cy="424136"/>
            <a:chOff x="550861" y="5599113"/>
            <a:chExt cx="1296000" cy="424136"/>
          </a:xfrm>
        </p:grpSpPr>
        <p:sp>
          <p:nvSpPr>
            <p:cNvPr id="90" name="Rounded box full half">
              <a:hlinkClick r:id="rId45" tooltip="empower ribbon - Insert"/>
              <a:extLst>
                <a:ext uri="{FF2B5EF4-FFF2-40B4-BE49-F238E27FC236}">
                  <a16:creationId xmlns:a16="http://schemas.microsoft.com/office/drawing/2014/main" id="{1F7BF2A0-AA83-AE77-13D2-4354C71F2C83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91" name="Play Button Circled">
              <a:hlinkClick r:id="rId45" tooltip="empower ribbon - Insert"/>
              <a:extLst>
                <a:ext uri="{FF2B5EF4-FFF2-40B4-BE49-F238E27FC236}">
                  <a16:creationId xmlns:a16="http://schemas.microsoft.com/office/drawing/2014/main" id="{82676EDC-BBDA-E408-2AC1-890839B29C63}"/>
                </a:ext>
              </a:extLst>
            </p:cNvPr>
            <p:cNvPicPr/>
            <p:nvPr>
              <p:custDataLst>
                <p:tags r:id="rId30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D4B57DC-66A0-20C5-1B69-4FCFB6BE2FD4}"/>
              </a:ext>
            </a:extLst>
          </p:cNvPr>
          <p:cNvGrpSpPr/>
          <p:nvPr/>
        </p:nvGrpSpPr>
        <p:grpSpPr>
          <a:xfrm>
            <a:off x="6224081" y="5599113"/>
            <a:ext cx="1296000" cy="424136"/>
            <a:chOff x="550861" y="5599113"/>
            <a:chExt cx="1296000" cy="424136"/>
          </a:xfrm>
        </p:grpSpPr>
        <p:sp>
          <p:nvSpPr>
            <p:cNvPr id="95" name="Rounded box full half">
              <a:hlinkClick r:id="rId46" tooltip="empower ribbon - Align layout tools"/>
              <a:extLst>
                <a:ext uri="{FF2B5EF4-FFF2-40B4-BE49-F238E27FC236}">
                  <a16:creationId xmlns:a16="http://schemas.microsoft.com/office/drawing/2014/main" id="{B8219204-71AC-DE71-A78B-FC496BC0699C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96" name="Play Button Circled">
              <a:hlinkClick r:id="rId46" tooltip="empower ribbon - Align Layout tools"/>
              <a:extLst>
                <a:ext uri="{FF2B5EF4-FFF2-40B4-BE49-F238E27FC236}">
                  <a16:creationId xmlns:a16="http://schemas.microsoft.com/office/drawing/2014/main" id="{CD810D5E-7524-89EB-0335-EAB914E8221C}"/>
                </a:ext>
              </a:extLst>
            </p:cNvPr>
            <p:cNvPicPr/>
            <p:nvPr>
              <p:custDataLst>
                <p:tags r:id="rId28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D73A3957-953A-9953-71A8-881FF3782DBD}"/>
              </a:ext>
            </a:extLst>
          </p:cNvPr>
          <p:cNvGrpSpPr/>
          <p:nvPr/>
        </p:nvGrpSpPr>
        <p:grpSpPr>
          <a:xfrm>
            <a:off x="7597386" y="5599113"/>
            <a:ext cx="1296000" cy="424136"/>
            <a:chOff x="550861" y="5599113"/>
            <a:chExt cx="1296000" cy="424136"/>
          </a:xfrm>
        </p:grpSpPr>
        <p:sp>
          <p:nvSpPr>
            <p:cNvPr id="100" name="Rounded box full half">
              <a:hlinkClick r:id="rId47" tooltip="empower ribbon - Finalize"/>
              <a:extLst>
                <a:ext uri="{FF2B5EF4-FFF2-40B4-BE49-F238E27FC236}">
                  <a16:creationId xmlns:a16="http://schemas.microsoft.com/office/drawing/2014/main" id="{ED9ADCB4-D85B-A3BA-83E1-6884B54A1505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101" name="Play Button Circled">
              <a:hlinkClick r:id="rId47" tooltip="empower Ribbon - Finalize"/>
              <a:extLst>
                <a:ext uri="{FF2B5EF4-FFF2-40B4-BE49-F238E27FC236}">
                  <a16:creationId xmlns:a16="http://schemas.microsoft.com/office/drawing/2014/main" id="{AEE10FFD-DF21-4BF1-8883-C8EB0D81EB37}"/>
                </a:ext>
              </a:extLst>
            </p:cNvPr>
            <p:cNvPicPr/>
            <p:nvPr>
              <p:custDataLst>
                <p:tags r:id="rId26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FDD7A4DE-F86A-157A-043C-483FA762795B}"/>
              </a:ext>
            </a:extLst>
          </p:cNvPr>
          <p:cNvGrpSpPr/>
          <p:nvPr/>
        </p:nvGrpSpPr>
        <p:grpSpPr>
          <a:xfrm>
            <a:off x="8970691" y="5599113"/>
            <a:ext cx="1296000" cy="424136"/>
            <a:chOff x="550861" y="5599113"/>
            <a:chExt cx="1296000" cy="424136"/>
          </a:xfrm>
        </p:grpSpPr>
        <p:sp>
          <p:nvSpPr>
            <p:cNvPr id="104" name="Rounded box full half">
              <a:hlinkClick r:id="rId48" tooltip="empower ribbon - Support and help"/>
              <a:extLst>
                <a:ext uri="{FF2B5EF4-FFF2-40B4-BE49-F238E27FC236}">
                  <a16:creationId xmlns:a16="http://schemas.microsoft.com/office/drawing/2014/main" id="{7FCE913D-9F08-3415-BA20-90714C8A824D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106" name="Play Button Circled">
              <a:hlinkClick r:id="rId48" tooltip="empower ribbon - Support and help"/>
              <a:extLst>
                <a:ext uri="{FF2B5EF4-FFF2-40B4-BE49-F238E27FC236}">
                  <a16:creationId xmlns:a16="http://schemas.microsoft.com/office/drawing/2014/main" id="{38B39EA3-57B6-E562-7370-BF6AD373892C}"/>
                </a:ext>
              </a:extLst>
            </p:cNvPr>
            <p:cNvPicPr/>
            <p:nvPr>
              <p:custDataLst>
                <p:tags r:id="rId24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4C020D2A-0C73-0387-DD5D-74A4E2D03D29}"/>
              </a:ext>
            </a:extLst>
          </p:cNvPr>
          <p:cNvGrpSpPr/>
          <p:nvPr/>
        </p:nvGrpSpPr>
        <p:grpSpPr>
          <a:xfrm>
            <a:off x="10343999" y="5599113"/>
            <a:ext cx="1296000" cy="424136"/>
            <a:chOff x="550861" y="5599113"/>
            <a:chExt cx="1296000" cy="424136"/>
          </a:xfrm>
        </p:grpSpPr>
        <p:sp>
          <p:nvSpPr>
            <p:cNvPr id="109" name="Rounded box full half">
              <a:hlinkClick r:id="rId49" tooltip="empower ribbon - AI Assistant"/>
              <a:extLst>
                <a:ext uri="{FF2B5EF4-FFF2-40B4-BE49-F238E27FC236}">
                  <a16:creationId xmlns:a16="http://schemas.microsoft.com/office/drawing/2014/main" id="{1EA007CC-6299-C024-7851-5080995E9451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>
            <a:xfrm>
              <a:off x="550861" y="5599113"/>
              <a:ext cx="1296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  <a:b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</a:br>
              <a:r>
                <a:rPr lang="en-GB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to learn more</a:t>
              </a:r>
            </a:p>
          </p:txBody>
        </p:sp>
        <p:pic>
          <p:nvPicPr>
            <p:cNvPr id="110" name="Play Button Circled">
              <a:hlinkClick r:id="rId49" tooltip="empower ribbon - AI Assistant"/>
              <a:extLst>
                <a:ext uri="{FF2B5EF4-FFF2-40B4-BE49-F238E27FC236}">
                  <a16:creationId xmlns:a16="http://schemas.microsoft.com/office/drawing/2014/main" id="{72BF40F0-F0D3-1CA7-AF7E-1AC97D9945DB}"/>
                </a:ext>
              </a:extLst>
            </p:cNvPr>
            <p:cNvPicPr/>
            <p:nvPr>
              <p:custDataLst>
                <p:tags r:id="rId22"/>
              </p:custDataLst>
            </p:nvPr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88113" y="5721181"/>
              <a:ext cx="180000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5578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svg="http://schemas.microsoft.com/office/drawing/2016/SVG/main" xmlns:ahyp="http://schemas.microsoft.com/office/drawing/2018/hyperlinkcolor" xmlns:a14="http://schemas.microsoft.com/office/drawing/2010/main" xmlns:a16="http://schemas.microsoft.com/office/drawing/2014/main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ONTENTTAG" val="cOr3Mw2dzUmAUn4Gm+jxJQ=="/>
  <p:tag name="MIO_PRESENTATION_LANGUAGE" val="1033"/>
  <p:tag name="EMPOWERCHARTSPROPERTIES_A_0" val="AAAAAAH//////////wEAAAAAAAAAAAAAACoqIFRoaXMgaXMgYSBMaXRlREIgZmlsZSAqKgcG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XHekBT8OFKnYsp3S6sb0YEAAAAAAADAAAAAAADAAAAAwADAAIA////////BQAAAAMAEAALUxFzWTNQgUCZ6QEWSfWriQQAAAABAAMAAAACAAMAAAAEAAMAAAAAAP///////wQAAQD///////8FAAAABAAQAAscGWK7VcN6RrA3LWwe4TT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Rcd6QFPw4UqdiyndLqxvRgNEYXRhABsAAAAETGlua2VkU2hhcGVEYXRhAAUAAAAAAAJOYW1lABkAAABMaW5rZWRTaGFwZXNEYXRhUHJvcGVydHkAEFZlcnNpb24AAAAAAAlMYXN0V3JpdGUAFhq5uoEBAAAAAQD/////xgDGAAAABV9pZAAQAAAABFMRc1kzUIFAmekBFkn1q4kDRGF0YQBTAAAACFByZXNlbnRhdGlvblNjYW5uZWRGb3JMaW5rZWRTaGFwZXMAAQJOdW1iZXJGb3JtYXRTZXBhcmF0b3JNb2RlAAoAAABBdXRvbWF0aWMAAAJOYW1lACQAAABMaW5rZWRTaGFwZVByZXNlbnRhdGlvblNldHRpbmdzRGF0YQAQVmVyc2lvbgAAAAAACUxhc3RXcml0ZQBiGrm6gQEAAAACAP////+DAIMAAAAFX2lkABAAAAAEHBliu1XDekawNy1sHuE03QNEYXRhABsAAAAETGlua2VkU2hhcGVEYXRhAAUAAAAAAAJOYW1lABkAAABMaW5rZWRTaGFwZXNEYXRhUHJvcGVydHkAEFZlcnNpb24AAQAAAAlMYXN0V3JpdGUA5uJ44p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AwAFAAAABAADAAIBAwAAAAMA////////JQAGTGlua2VkU2hhcGVQcmVzZW50YXRpb25TZXR0aW5nc0RhdGFfMAQAAAABAAUAAAAAAAUAAAACAAUAAAAAAP///////wQAAQEDAAAABAD///////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960379973185461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5ba3e29-3e69-460f-adc3-59bbb9830f62"/>
  <p:tag name="MIO_GUID" val="2542927e-b0ca-428c-91a8-fa3fc546aa23"/>
  <p:tag name="MIO_UPDATE" val="True"/>
  <p:tag name="MIO_VERSION" val="14.08.2022 19:59:51"/>
  <p:tag name="MIO_DBID" val="0F45B44C-9BC7-4D85-81C4-7155EE70A7B9"/>
  <p:tag name="MIO_LASTDOWNLOADED" val="21.08.2022 23:47:20.540"/>
  <p:tag name="MIO_OBJECTNAME" val="Picture 6"/>
  <p:tag name="MIO_LASTEDITORNAME" val="Stephan Kuhner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cec0dfc-4a44-44f6-978f-b504e8a3607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04ed5cf-6c48-4d54-8d46-913f005230a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6816b03-ae5d-48cd-b62a-74db6d3794d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722aeeb-9599-4e77-adf5-42a8eef831c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b089335-c795-4c42-a409-a48c29222b7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0faea88-dee1-499f-b033-9d117f5b62ef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3102da8-b61b-4579-87a7-1bc569ccf33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550dc66-af45-4f15-9c80-4d926d9c50df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173d650-7582-461a-8871-f4c96ef01da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EMBED_FONT" val="False"/>
  <p:tag name="MIO_SKIPVERSION" val="01.01.0001 00:00:00"/>
  <p:tag name="MIO_EKGUID" val="5e582455-eb90-4e8e-ac43-43a20fda9484"/>
  <p:tag name="MIO_DBID" val="B8FCB12D-AF03-49EB-9F79-BB019BE99E1E"/>
  <p:tag name="MIO_OBJECTNAME" val="empower Blue 2023"/>
  <p:tag name="MIO_CD_LAYOUT_VALID_AREA" val="False"/>
  <p:tag name="MIO_FALLBACK_LAYOUT" val="14"/>
  <p:tag name="MIO_AVOID_BLANK_LAYOUT" val="False"/>
  <p:tag name="MIO_MATCH_COLOR_SCHEME" val="False"/>
  <p:tag name="MIO_SHOW_DATE" val="False"/>
  <p:tag name="MIO_SHOW_FOOTER" val="False"/>
  <p:tag name="MIO_SHOW_PAGENUMBER" val="False"/>
  <p:tag name="MIO_NUMBER_OF_VALID_LAYOUTS" val="100"/>
  <p:tag name="MIO_VERSION" val="22.05.2024 11:35:55"/>
  <p:tag name="MIO_LASTDOWNLOADED" val="22.05.2024 12:38:35.043"/>
  <p:tag name="MIO_CONTENTTAG" val="Ul7saRY/Hk+gDi560B268g=="/>
  <p:tag name="MIO_CDID" val="7e112968-5c67-4980-b6c7-7641b443215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5fcc56b-e2d8-40db-a574-e582a08fb3d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20d12df-2625-4f58-a022-a72a56a9b70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c1390869-dd2b-4b54-8384-1082ec8de35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ab998e00-b5f5-4352-a4b2-061b05e832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c2bfc8e6-f849-48d1-b249-01cf53b68e8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990c8c1c-5e1e-499c-a8cd-f18b0ae4014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22fc65b5-2423-4382-aaa7-859022d4049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59d82215-5370-4ece-a711-d34a4a54b61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00dd9aa3-fe1e-4f2b-8d5a-4d336fda150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a5f4d0e-927c-4d1f-91c5-9df45d4f4484"/>
  <p:tag name="MIO_GUID" val="d2cb184c-631a-45aa-810d-f1f45b7801c6"/>
  <p:tag name="MIO_UPDATE" val="True"/>
  <p:tag name="MIO_VERSION" val="07.10.2025 13:20:44"/>
  <p:tag name="MIO_DBID" val="B8FCB12D-AF03-49EB-9F79-BB019BE99E1E"/>
  <p:tag name="MIO_LASTDOWNLOADED" val="14.10.2025 12:08:27.426"/>
  <p:tag name="MIO_OBJECTNAME" val="_Footnotes - full width"/>
  <p:tag name="MIO_CONTENTTAG" val="FGmqpjiuDEagXkUS8BKUng=="/>
  <p:tag name="MIO_LASTEDITORNAME" val="Georgina DEMO"/>
  <p:tag name="DOWN_MIGRATION_INITIAL_LAYOUT_REQUIRED" val="9.2.99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/gs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y/eAqIZ3JKo5YkwLBZ8TsEAAAAAAADAAAAAAADAAAABAADAAIA////////BQAAAAMAEAALcAow6bwjLk+WTh3Ud7Jc/wQAAAABAAMAAAAEAAMAAAABAAMAAAAEAP///////wQAAgD///////8FAAAABAAQAAtVATuwD9QqTKK2skbccjeQ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L94CohnckqjliTAsFnxOwREYXRhAAUAAAAAAk5hbWUADQAAAExpbmtEYXRhTGlzdAAQVmVyc2lvbgAAAAAACUxhc3RXcml0ZQBDd9W9kQEAAAABAP////9hAGEAAAAFX2lkABAAAAAEcAow6bwjLk+WTh3Ud7Jc/wREYXRhAAUAAAAAAk5hbWUADQAAAExpbmtEYXRhTGlzdAAQVmVyc2lvbgABAAAACUxhc3RXcml0ZQBEd9W9kQEAAAACAP////9wAHAAAAAFX2lkABAAAAAEVQE7sA/UKkyitrJG3HI3kANEYXRhABYAAAACUGVyc29uYWxJZAABAAAAAAACTmFtZQALAAAAUGVyc29uYWxJZAAQVmVyc2lvbgAAAAAACUxhc3RXcml0ZQBld9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AFAAAABAAEAAMBAwAAAAQA////////DAAGUGVyc29uYWxJZF8wBAAAAAIABQAAAAMABQAAAAEABQAAAAM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B_LENGTH" val="24576"/>
  <p:tag name="EMPOWERCHARTSPROPERTIES_LASTWRITEDATE" val="638610635692807926"/>
  <p:tag name="EMPOWERCHARTSPROPERTIES_SLOT" val="B"/>
  <p:tag name="MIO_EK" val="3965"/>
  <p:tag name="MIO_SHAPETYPES_TEXTELEMENT" val="MIO_FOOTNOTE"/>
  <p:tag name="MIO_SKIP_CDCHECK" val="True"/>
  <p:tag name="RUNTIME_ID" val="deaf5a15-03f1-4327-9456-e9c387498b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FALLBACK_LAYOUT" val="14"/>
  <p:tag name="MIO_EKGUID" val="5e582455-eb90-4e8e-ac43-43a20fda9484"/>
  <p:tag name="MIO_DBID" val="B8FCB12D-AF03-49EB-9F79-BB019BE99E1E"/>
  <p:tag name="MIO_OBJECTNAME" val="empower"/>
  <p:tag name="MIO_NUMBER_OF_VALID_LAYOUTS" val="60"/>
  <p:tag name="MIO_VERSION" val="06.08.2025 08:11:10"/>
  <p:tag name="MIO_LASTDOWNLOADED" val="15.10.2025 14:50:01.327"/>
  <p:tag name="MIO_CONTENTTAG" val="00QhoIM4AkiYaRKGru/t/Q=="/>
  <p:tag name="MIO_CDID" val="7e112968-5c67-4980-b6c7-7641b443215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WN_MIGRATION_INITIAL_LAYOUT_REQUIRED" val="9.2.99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ZkFxRERwJAjzK6lvKP9JwEAAAAAAADAAAAAAADAAAABAADAAAAAAD///////8DAAAAAAD///////8DAAEA////////BQAAAAMAEAAL7Xfng5PnIE+kzidTYB5AhgQAAAABAAMAAAAEAAMAAAABAAQAAQD///////8FAAAABAAQAAu4myxP0aqeRaOhvIJCQFH+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mQXFERHAkCPMrqW8o/0nAREYXRhAAUAAAAAAk5hbWUADQAAAExpbmtEYXRhTGlzdAAQVmVyc2lvbgAAAAAACUxhc3RXcml0ZQDpdtW9kQEAAAABAP////9hAGEAAAAFX2lkABAAAAAE7Xfng5PnIE+kzidTYB5AhgREYXRhAAUAAAAAAk5hbWUADQAAAExpbmtEYXRhTGlzdAAQVmVyc2lvbgABAAAACUxhc3RXcml0ZQDudtW9kQEAAAACAP////9wAHAAAAAFX2lkABAAAAAEuJssT9GqnkWjobyCQkBR/gNEYXRhABYAAAACUGVyc29uYWxJZAABAAAAAAACTmFtZQALAAAAUGVyc29uYWxJZAAQVmVyc2lvbgAAAAAACUxhc3RXcml0ZQAId9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BAAFAAAAAAD///////8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B_LENGTH" val="24576"/>
  <p:tag name="EMPOWERCHARTSPROPERTIES_LASTWRITEDATE" val="638610635691820645"/>
  <p:tag name="EMPOWERCHARTSPROPERTIES_SLOT" val="B"/>
  <p:tag name="RUNTIME_ID" val="b29ca01e-8184-4e64-b066-ff1d8f52ddd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n4YVTvKuVNmPtrwTtYIDUEAAAAAAADAAAAAAADAAAABAADAAAAAAADAAAABAADAAEA////////BQAAAAMAEAALkJk05d+pqUeLf42WK5s4YAQAAAABAAMAAAAEAAMAAAABAAQAAwD///////8FAAAABAAQAAtycYSRm0uuR4Xq3zyYuIdEBAAAAAIAAwAAAAIAAwAAAAM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fhhVO8q5U2Y+2vBO1ggNQREYXRhAAUAAAAAAk5hbWUADQAAAExpbmtEYXRhTGlzdAAQVmVyc2lvbgABAAAACUxhc3RXcml0ZQCqwYWAjwEAAAABAP////9hAGEAAAAFX2lkABAAAAAEkJk05d+pqUeLf42WK5s4YAREYXRhAAUAAAAAAk5hbWUADQAAAExpbmtEYXRhTGlzdAAQVmVyc2lvbgAAAAAACUxhc3RXcml0ZQCbwYWAjwEAAAACAP////9wAHAAAAAFX2lkABAAAAAEcnGEkZtLrkeF6t88mLiHRANEYXRhABYAAAACUGVyc29uYWxJZAABAAAAAAACTmFtZQALAAAAUGVyc29uYWxJZAAQVmVyc2lvbgAAAAAACUxhc3RXcml0ZQDrwYWA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MBAwAAAAQA////////DAAGUGVyc29uYWxJZF8wBAAAAAIABQAAAAIABQAAAAEA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4450007044896"/>
  <p:tag name="EMPOWERCHARTSPROPERTIES_B_LENGTH" val="24576"/>
  <p:tag name="DOWN_MIGRATION_INITIAL_LAYOUT_REQUIRED" val="9.2.99"/>
  <p:tag name="RUNTIME_ID" val="cae05ed3-ef2e-4105-89ac-fd5b5a6b003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7rQxMX5BFOk4DkusvKymUEAAAAAAADAAAAAAADAAAAAwADAAIA////////BQAAAAMAEAAL5F7zVjS+8UaMsKQSLeOJVQQAAAABAAMAAAACAAMAAAAEAAMAAAAAAP///////wQAAQD///////8FAAAABAAQAAtHXxrn/IYbRI7t+vnX7F/2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utDExfkEU6TgOS6y8rKZQREYXRhAAUAAAAAAk5hbWUADQAAAExpbmtEYXRhTGlzdAAQVmVyc2lvbgABAAAACUxhc3RXcml0ZQBzP+8+jwEAAAABAP////9hAGEAAAAFX2lkABAAAAAE5F7zVjS+8UaMsKQSLeOJVQREYXRhAAUAAAAAAk5hbWUADQAAAExpbmtEYXRhTGlzdAAQVmVyc2lvbgAAAAAACUxhc3RXcml0ZQBwP+8+jwEAAAACAP////9wAHAAAAAFX2lkABAAAAAER18a5/yGG0SO7fr51+xf9gNEYXRhABYAAAACUGVyc29uYWxJZAABAAAAAAACTmFtZQALAAAAUGVyc29uYWxJZAAQVmVyc2lvbgAAAAAACUxhc3RXcml0ZQCLP+8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03446178895955"/>
  <p:tag name="EMPOWERCHARTSPROPERTIES_B_LENGTH" val="24576"/>
  <p:tag name="DOWN_MIGRATION_INITIAL_LAYOUT_REQUIRED" val="9.2.99"/>
  <p:tag name="RUNTIME_ID" val="f06e3359-8379-47b6-9c22-633911c3113f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6p8BxkJPNROm++MrWxG2x0EAAAAAAADAAAAAAADAAAAAwADAAAAAAADAAAABAADAAEA////////BQAAAAMAEAALbb8qnUzDUUq6DAPDe4SgQgQAAAABAAMAAAACAAMAAAAEAAQAAwD///////8FAAAABAAQAAsqSRf6XAuLRIYsHm4wm6XPBAAAAAIAAwAAAAMAAwAAAAE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qnwHGQk81E6b74ytbEbbHQREYXRhAAUAAAAAAk5hbWUADQAAAExpbmtEYXRhTGlzdAAQVmVyc2lvbgAAAAAACUxhc3RXcml0ZQBJx/qfjwEAAAABAP////9hAGEAAAAFX2lkABAAAAAEbb8qnUzDUUq6DAPDe4SgQgREYXRhAAUAAAAAAk5hbWUADQAAAExpbmtEYXRhTGlzdAAQVmVyc2lvbgABAAAACUxhc3RXcml0ZQBKx/qfjwEAAAACAP////9wAHAAAAAFX2lkABAAAAAEKkkX+lwLi0SGLB5uMJulzwNEYXRhABYAAAACUGVyc29uYWxJZAABAAAAAAACTmFtZQALAAAAUGVyc29uYWxJZAAQVmVyc2lvbgAAAAAACUxhc3RXcml0ZQBnx/qf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9727635159092"/>
  <p:tag name="EMPOWERCHARTSPROPERTIES_B_LENGTH" val="24576"/>
  <p:tag name="DOWN_MIGRATION_INITIAL_LAYOUT_REQUIRED" val="9.2.99"/>
  <p:tag name="RUNTIME_ID" val="3238f02d-c838-4d92-b09b-2f7e20bf208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+s4AicNM31JqaRUdX+geQUEAAAAAAADAAAAAAADAAAABAADAAAAAAD///////8DAAAAAAD///////8DAAEA////////BQAAAAMAEAAL2v5hrC1Bf0O03o2AQ7UVUwQAAAABAAMAAAAEAAMAAAABAAQAAQD///////8FAAAABAAQAAtSH4tqPAbfT7DVJ42ZjUuG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6zgCJw0zfUmppFR1f6B5BQREYXRhAAUAAAAAAk5hbWUADQAAAExpbmtEYXRhTGlzdAAQVmVyc2lvbgABAAAACUxhc3RXcml0ZQC2bOHDjwEAAAABAP////9hAGEAAAAFX2lkABAAAAAE2v5hrC1Bf0O03o2AQ7UVUwREYXRhAAUAAAAAAk5hbWUADQAAAExpbmtEYXRhTGlzdAAQVmVyc2lvbgAAAAAACUxhc3RXcml0ZQCUbOHDjwEAAAACAP////9wAHAAAAAFX2lkABAAAAAEUh+LajwG30+w1SeNmY1LhgNEYXRhABYAAAACUGVyc29uYWxJZAABAAAAAAACTmFtZQALAAAAUGVyc29uYWxJZAAQVmVyc2lvbgAAAAAACUxhc3RXcml0ZQDNbOHD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C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AFAAAABAADAAEBAwAAAAMA////////DgAGTGlua0RhdGFMaXN0XzAEAAAAAQAFAAAAAAAFAAAAAgAEAAQBAwAAAAQA////////DAAGUGVyc29uYWxJZF8wBAAAAAIABQAAAAIABQAAAAEABQAAAAIA////////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750816958870"/>
  <p:tag name="EMPOWERCHARTSPROPERTIES_B_LENGTH" val="24576"/>
  <p:tag name="DOWN_MIGRATION_INITIAL_LAYOUT_REQUIRED" val="9.2.99"/>
  <p:tag name="RUNTIME_ID" val="85dcdc83-010f-41ae-a9c9-ddd4d2883920"/>
</p:tagLst>
</file>

<file path=ppt/theme/theme1.xml><?xml version="1.0" encoding="utf-8"?>
<a:theme xmlns:a="http://schemas.openxmlformats.org/drawingml/2006/main" name="empower express">
  <a:themeElements>
    <a:clrScheme name="Empower">
      <a:dk1>
        <a:srgbClr val="3C3C3C"/>
      </a:dk1>
      <a:lt1>
        <a:sysClr val="window" lastClr="FFFFFF"/>
      </a:lt1>
      <a:dk2>
        <a:srgbClr val="00316C"/>
      </a:dk2>
      <a:lt2>
        <a:srgbClr val="E3E3E3"/>
      </a:lt2>
      <a:accent1>
        <a:srgbClr val="00316C"/>
      </a:accent1>
      <a:accent2>
        <a:srgbClr val="00B8FF"/>
      </a:accent2>
      <a:accent3>
        <a:srgbClr val="538FFF"/>
      </a:accent3>
      <a:accent4>
        <a:srgbClr val="F07900"/>
      </a:accent4>
      <a:accent5>
        <a:srgbClr val="E24F03"/>
      </a:accent5>
      <a:accent6>
        <a:srgbClr val="00BF35"/>
      </a:accent6>
      <a:hlink>
        <a:srgbClr val="00B8FF"/>
      </a:hlink>
      <a:folHlink>
        <a:srgbClr val="66D4FF"/>
      </a:folHlink>
    </a:clrScheme>
    <a:fontScheme name="empower">
      <a:majorFont>
        <a:latin typeface="Segoe UI Semibold"/>
        <a:ea typeface="Segoe UI Semibold"/>
        <a:cs typeface="Segoe UI Semibold"/>
      </a:majorFont>
      <a:minorFont>
        <a:latin typeface="Segoe UI Semilight"/>
        <a:ea typeface="Segoe UI Light"/>
        <a:cs typeface="Segoe UI Light"/>
      </a:minorFont>
    </a:fontScheme>
    <a:fmtScheme name="empower 2022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flat" cmpd="sng" algn="ctr">
          <a:noFill/>
          <a:prstDash val="solid"/>
        </a:ln>
        <a:effectLst/>
      </a:spPr>
      <a:bodyPr lIns="90000" tIns="46800" rIns="90000" bIns="46800" rtlCol="0" anchor="ctr"/>
      <a:lstStyle>
        <a:defPPr algn="ctr" defTabSz="486000">
          <a:lnSpc>
            <a:spcPct val="100000"/>
          </a:lnSpc>
          <a:spcBef>
            <a:spcPts val="200"/>
          </a:spcBef>
          <a:spcAft>
            <a:spcPts val="200"/>
          </a:spcAft>
          <a:defRPr sz="14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200"/>
          </a:spcBef>
          <a:spcAft>
            <a:spcPts val="200"/>
          </a:spcAft>
          <a:defRPr sz="1400" b="0" i="0" u="none" dirty="0" err="1"/>
        </a:defPPr>
      </a:lstStyle>
    </a:txDef>
  </a:objectDefaults>
  <a:extraClrSchemeLst/>
  <a:custClrLst>
    <a:custClr name="Custom Color 1">
      <a:srgbClr val="335A89"/>
    </a:custClr>
    <a:custClr name="Custom Color 2">
      <a:srgbClr val="33C6FF"/>
    </a:custClr>
    <a:custClr name="Custom Color 3">
      <a:srgbClr val="75A5FF"/>
    </a:custClr>
    <a:custClr name="Custom Color 4">
      <a:srgbClr val="F39433"/>
    </a:custClr>
    <a:custClr name="Custom Color 5">
      <a:srgbClr val="E87235"/>
    </a:custClr>
    <a:custClr name="Custom Color 6">
      <a:srgbClr val="33CC5D"/>
    </a:custClr>
    <a:custClr name="Custom Color 7">
      <a:srgbClr val="C1C1C1"/>
    </a:custClr>
    <a:custClr name="Custom Color 8">
      <a:srgbClr val="002551"/>
    </a:custClr>
    <a:custClr name="Custom Color 9">
      <a:srgbClr val="008ABF"/>
    </a:custClr>
    <a:custClr name="Custom Color 10">
      <a:srgbClr val="0058FD"/>
    </a:custClr>
    <a:custClr name="Custom Color 11">
      <a:srgbClr val="6683A7"/>
    </a:custClr>
    <a:custClr name="Custom Color 12">
      <a:srgbClr val="66D4FF"/>
    </a:custClr>
    <a:custClr name="Custom Color 13">
      <a:srgbClr val="98BCFF"/>
    </a:custClr>
    <a:custClr name="Custom Color 14">
      <a:srgbClr val="F6AF66"/>
    </a:custClr>
    <a:custClr name="Custom Color 15">
      <a:srgbClr val="EE9568"/>
    </a:custClr>
    <a:custClr name="Custom Color 16">
      <a:srgbClr val="66D986"/>
    </a:custClr>
    <a:custClr name="Custom Color 17">
      <a:srgbClr val="D0D0D0"/>
    </a:custClr>
    <a:custClr name="Custom Color 18">
      <a:srgbClr val="001836"/>
    </a:custClr>
    <a:custClr name="Custom Color 19">
      <a:srgbClr val="005C7F"/>
    </a:custClr>
    <a:custClr name="Custom Color 20">
      <a:srgbClr val="003BA9"/>
    </a:custClr>
    <a:custClr name="Custom Color 21">
      <a:srgbClr val="99ADC4"/>
    </a:custClr>
    <a:custClr name="Custom Color 22">
      <a:srgbClr val="99E3FF"/>
    </a:custClr>
    <a:custClr name="Custom Color 23">
      <a:srgbClr val="BAD2FF"/>
    </a:custClr>
    <a:custClr name="Custom Color 24">
      <a:srgbClr val="F9C999"/>
    </a:custClr>
    <a:custClr name="Custom Color 25">
      <a:srgbClr val="F3B99A"/>
    </a:custClr>
    <a:custClr name="Custom Color 26">
      <a:srgbClr val="99E5AE"/>
    </a:custClr>
    <a:custClr name="Custom Color 27">
      <a:srgbClr val="E0E0E0"/>
    </a:custClr>
    <a:custClr name="Custom Color 28">
      <a:srgbClr val="B45B00"/>
    </a:custClr>
    <a:custClr name="Custom Color 29">
      <a:srgbClr val="A93B02"/>
    </a:custClr>
    <a:custClr name="Custom Color 30">
      <a:srgbClr val="008F28"/>
    </a:custClr>
    <a:custClr name="Custom Color 31">
      <a:srgbClr val="CCD6E2"/>
    </a:custClr>
    <a:custClr name="Custom Color 32">
      <a:srgbClr val="CCF1FF"/>
    </a:custClr>
    <a:custClr name="Custom Color 33">
      <a:srgbClr val="DDE9FF"/>
    </a:custClr>
    <a:custClr name="Custom Color 34">
      <a:srgbClr val="FCE4CC"/>
    </a:custClr>
    <a:custClr name="Custom Color 35">
      <a:srgbClr val="F9DCCD"/>
    </a:custClr>
    <a:custClr name="Custom Color 36">
      <a:srgbClr val="CCF2D7"/>
    </a:custClr>
    <a:custClr name="Custom Color 37">
      <a:srgbClr val="EFEFEF"/>
    </a:custClr>
    <a:custClr name="Custom Color 38">
      <a:srgbClr val="783C00"/>
    </a:custClr>
    <a:custClr name="Custom Color 39">
      <a:srgbClr val="712701"/>
    </a:custClr>
    <a:custClr name="Custom Color 40">
      <a:srgbClr val="00601A"/>
    </a:custClr>
    <a:custClr name="Custom Color 41">
      <a:srgbClr val="E5EAF0"/>
    </a:custClr>
    <a:custClr name="Custom Color 42">
      <a:srgbClr val="E5F8FF"/>
    </a:custClr>
    <a:custClr name="Custom Color 43">
      <a:srgbClr val="EDF4FF"/>
    </a:custClr>
    <a:custClr name="Custom Color 44">
      <a:srgbClr val="FDF1E5"/>
    </a:custClr>
    <a:custClr name="Custom Color 45">
      <a:srgbClr val="FCEDE5"/>
    </a:custClr>
    <a:custClr name="Custom Color 46">
      <a:srgbClr val="E5F8EA"/>
    </a:custClr>
    <a:custClr name="Custom Color 47">
      <a:srgbClr val="F7F7F7"/>
    </a:custClr>
    <a:custClr name="Custom Color 48">
      <a:srgbClr val="8A8A8A"/>
    </a:custClr>
    <a:custClr name="Custom Color 49">
      <a:srgbClr val="727272"/>
    </a:custClr>
    <a:custClr name="Custom Color 50">
      <a:srgbClr val="EDFCFF"/>
    </a:custClr>
  </a:custClrLst>
  <a:extLst>
    <a:ext uri="{05A4C25C-085E-4340-85A3-A5531E510DB2}">
      <thm15:themeFamily xmlns:thm15="http://schemas.microsoft.com/office/thememl/2012/main" name="Default Theme.pptx" id="{52876D21-57F6-4C3E-826E-163C3E61A8A4}" vid="{91F68B68-1A07-4BA7-A136-BE09D5CF361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f016a47-d9d6-430c-863f-c309e8140729">
      <Terms xmlns="http://schemas.microsoft.com/office/infopath/2007/PartnerControls"/>
    </lcf76f155ced4ddcb4097134ff3c332f>
    <TaxCatchAll xmlns="e8f9acd8-fb62-4995-a82a-24ec5031e48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F9B7A738928449ADDD596720060256" ma:contentTypeVersion="21" ma:contentTypeDescription="Create a new document." ma:contentTypeScope="" ma:versionID="1bd62a9e1a73f6a3b2205f03ba1a90f9">
  <xsd:schema xmlns:xsd="http://www.w3.org/2001/XMLSchema" xmlns:xs="http://www.w3.org/2001/XMLSchema" xmlns:p="http://schemas.microsoft.com/office/2006/metadata/properties" xmlns:ns2="6f016a47-d9d6-430c-863f-c309e8140729" xmlns:ns3="e8f9acd8-fb62-4995-a82a-24ec5031e480" targetNamespace="http://schemas.microsoft.com/office/2006/metadata/properties" ma:root="true" ma:fieldsID="6329d0235d9dc1af77fbd43abb292ad1" ns2:_="" ns3:_="">
    <xsd:import namespace="6f016a47-d9d6-430c-863f-c309e8140729"/>
    <xsd:import namespace="e8f9acd8-fb62-4995-a82a-24ec5031e4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3:TaxCatchAll" minOccurs="0"/>
                <xsd:element ref="ns2:lcf76f155ced4ddcb4097134ff3c332f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016a47-d9d6-430c-863f-c309e81407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1a50ad6-ef49-41ed-9a30-1c034c54fb5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f9acd8-fb62-4995-a82a-24ec5031e480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583ed61b-adf1-4161-9a62-5a2b94527958}" ma:internalName="TaxCatchAll" ma:showField="CatchAllData" ma:web="e8f9acd8-fb62-4995-a82a-24ec5031e48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0D2CC91-213B-4CEF-9FD0-F290108A46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10A553-6313-48B0-A676-C6C06091A5E4}">
  <ds:schemaRefs>
    <ds:schemaRef ds:uri="http://www.w3.org/XML/1998/namespace"/>
    <ds:schemaRef ds:uri="b4b0e703-4ab4-44f8-966d-9267eedce79c"/>
    <ds:schemaRef ds:uri="http://purl.org/dc/terms/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91e721af-9f87-451a-945b-28d867b530e3"/>
    <ds:schemaRef ds:uri="http://purl.org/dc/elements/1.1/"/>
    <ds:schemaRef ds:uri="6f016a47-d9d6-430c-863f-c309e8140729"/>
    <ds:schemaRef ds:uri="e8f9acd8-fb62-4995-a82a-24ec5031e480"/>
  </ds:schemaRefs>
</ds:datastoreItem>
</file>

<file path=customXml/itemProps3.xml><?xml version="1.0" encoding="utf-8"?>
<ds:datastoreItem xmlns:ds="http://schemas.openxmlformats.org/officeDocument/2006/customXml" ds:itemID="{AD35740A-85FB-407E-A373-017ABC5C45C9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6</Words>
  <Application>Microsoft Office PowerPoint</Application>
  <PresentationFormat>Widescreen</PresentationFormat>
  <Paragraphs>5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Segoe UI</vt:lpstr>
      <vt:lpstr>Segoe UI Semibold</vt:lpstr>
      <vt:lpstr>Segoe UI Semilight</vt:lpstr>
      <vt:lpstr>Symbol</vt:lpstr>
      <vt:lpstr>Wingdings</vt:lpstr>
      <vt:lpstr>empower express</vt:lpstr>
      <vt:lpstr>The empower® ribbon – video guides (PC version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orgina Manzi</dc:creator>
  <cp:lastModifiedBy>Georgina Manzi</cp:lastModifiedBy>
  <cp:revision>1</cp:revision>
  <dcterms:created xsi:type="dcterms:W3CDTF">2025-10-20T09:55:29Z</dcterms:created>
  <dcterms:modified xsi:type="dcterms:W3CDTF">2025-11-26T09:2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AFF9B7A738928449ADDD596720060256</vt:lpwstr>
  </property>
</Properties>
</file>